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1"/>
  </p:notesMasterIdLst>
  <p:sldIdLst>
    <p:sldId id="510" r:id="rId4"/>
    <p:sldId id="297" r:id="rId5"/>
    <p:sldId id="322" r:id="rId6"/>
    <p:sldId id="345" r:id="rId7"/>
    <p:sldId id="280" r:id="rId8"/>
    <p:sldId id="357" r:id="rId9"/>
    <p:sldId id="307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508411-ABF5-4641-9374-A4340C110FA5}" v="12" dt="2025-06-02T12:55:32.984"/>
    <p1510:client id="{7E804B78-E59F-4280-BF46-1BE684B46A7B}" v="214" dt="2025-06-02T10:52:21.982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120" d="100"/>
          <a:sy n="120" d="100"/>
        </p:scale>
        <p:origin x="84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06508411-ABF5-4641-9374-A4340C110FA5}"/>
    <pc:docChg chg="modSld">
      <pc:chgData name="Chamaria, Shridhar" userId="8333b265-e735-45f8-a921-ce459cc3483a" providerId="ADAL" clId="{06508411-ABF5-4641-9374-A4340C110FA5}" dt="2025-06-02T12:55:32.947" v="9"/>
      <pc:docMkLst>
        <pc:docMk/>
      </pc:docMkLst>
      <pc:sldChg chg="modSp">
        <pc:chgData name="Chamaria, Shridhar" userId="8333b265-e735-45f8-a921-ce459cc3483a" providerId="ADAL" clId="{06508411-ABF5-4641-9374-A4340C110FA5}" dt="2025-06-02T12:55:32.947" v="9"/>
        <pc:sldMkLst>
          <pc:docMk/>
          <pc:sldMk cId="1151565197" sldId="280"/>
        </pc:sldMkLst>
        <pc:spChg chg="mod">
          <ac:chgData name="Chamaria, Shridhar" userId="8333b265-e735-45f8-a921-ce459cc3483a" providerId="ADAL" clId="{06508411-ABF5-4641-9374-A4340C110FA5}" dt="2025-06-02T12:55:32.947" v="9"/>
          <ac:spMkLst>
            <pc:docMk/>
            <pc:sldMk cId="1151565197" sldId="280"/>
            <ac:spMk id="41" creationId="{0BB12648-BC5B-9CAF-734A-598BAAA436CE}"/>
          </ac:spMkLst>
        </pc:spChg>
      </pc:sldChg>
      <pc:sldChg chg="modSp mod">
        <pc:chgData name="Chamaria, Shridhar" userId="8333b265-e735-45f8-a921-ce459cc3483a" providerId="ADAL" clId="{06508411-ABF5-4641-9374-A4340C110FA5}" dt="2025-06-02T12:48:43.906" v="6" actId="1076"/>
        <pc:sldMkLst>
          <pc:docMk/>
          <pc:sldMk cId="2644103184" sldId="297"/>
        </pc:sldMkLst>
        <pc:spChg chg="mod">
          <ac:chgData name="Chamaria, Shridhar" userId="8333b265-e735-45f8-a921-ce459cc3483a" providerId="ADAL" clId="{06508411-ABF5-4641-9374-A4340C110FA5}" dt="2025-06-02T12:48:15.868" v="2"/>
          <ac:spMkLst>
            <pc:docMk/>
            <pc:sldMk cId="2644103184" sldId="297"/>
            <ac:spMk id="23" creationId="{E1264BB2-7764-1406-21C6-671EEA186B18}"/>
          </ac:spMkLst>
        </pc:spChg>
        <pc:spChg chg="mod">
          <ac:chgData name="Chamaria, Shridhar" userId="8333b265-e735-45f8-a921-ce459cc3483a" providerId="ADAL" clId="{06508411-ABF5-4641-9374-A4340C110FA5}" dt="2025-06-02T12:48:29.912" v="5"/>
          <ac:spMkLst>
            <pc:docMk/>
            <pc:sldMk cId="2644103184" sldId="297"/>
            <ac:spMk id="34" creationId="{C369B846-913D-7FFC-5044-489EFE0ED8EB}"/>
          </ac:spMkLst>
        </pc:spChg>
        <pc:grpChg chg="mod">
          <ac:chgData name="Chamaria, Shridhar" userId="8333b265-e735-45f8-a921-ce459cc3483a" providerId="ADAL" clId="{06508411-ABF5-4641-9374-A4340C110FA5}" dt="2025-06-02T12:48:43.906" v="6" actId="1076"/>
          <ac:grpSpMkLst>
            <pc:docMk/>
            <pc:sldMk cId="2644103184" sldId="297"/>
            <ac:grpSpMk id="16" creationId="{E463593B-F73C-98B4-8DB2-A7BDAF364538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76DC99-C6C7-4202-B07E-288AF512010C}" type="datetimeFigureOut">
              <a:rPr lang="en-US" smtClean="0"/>
              <a:t>6/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110DF6-5308-40CA-A76C-D1D81E363C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823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FFEBF-D155-4690-AE1C-DD5EDFF2720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587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FFEBF-D155-4690-AE1C-DD5EDFF2720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493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FFEBF-D155-4690-AE1C-DD5EDFF2720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864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FFEBF-D155-4690-AE1C-DD5EDFF2720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770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FFEBF-D155-4690-AE1C-DD5EDFF2720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023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elect Forte slides for PEG Suit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9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1.emf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8.emf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1.emf"/><Relationship Id="rId5" Type="http://schemas.openxmlformats.org/officeDocument/2006/relationships/tags" Target="../tags/tag35.xml"/><Relationship Id="rId15" Type="http://schemas.openxmlformats.org/officeDocument/2006/relationships/image" Target="../media/image10.png"/><Relationship Id="rId10" Type="http://schemas.openxmlformats.org/officeDocument/2006/relationships/oleObject" Target="../embeddings/oleObject6.bin"/><Relationship Id="rId4" Type="http://schemas.openxmlformats.org/officeDocument/2006/relationships/tags" Target="../tags/tag34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7.bin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6.xml"/><Relationship Id="rId15" Type="http://schemas.openxmlformats.org/officeDocument/2006/relationships/image" Target="../media/image11.emf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15C1AFC-D7C0-0DE0-BD67-79E5368386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51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5C1AFC-D7C0-0DE0-BD67-79E536838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8623C95F-B58E-60E5-75E8-8BEE251B921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785440">
              <a:extLst>
                <a:ext uri="{FF2B5EF4-FFF2-40B4-BE49-F238E27FC236}">
                  <a16:creationId xmlns:a16="http://schemas.microsoft.com/office/drawing/2014/main" id="{1C9D0BC0-3BF4-964A-C691-3E685ACFC96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407237">
              <a:extLst>
                <a:ext uri="{FF2B5EF4-FFF2-40B4-BE49-F238E27FC236}">
                  <a16:creationId xmlns:a16="http://schemas.microsoft.com/office/drawing/2014/main" id="{E9FB1F8C-7077-A0EA-D75D-A4EABD91385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47385">
              <a:extLst>
                <a:ext uri="{FF2B5EF4-FFF2-40B4-BE49-F238E27FC236}">
                  <a16:creationId xmlns:a16="http://schemas.microsoft.com/office/drawing/2014/main" id="{E6AF01F0-CE10-1841-BA43-BCAE6E282E95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124242">
              <a:extLst>
                <a:ext uri="{FF2B5EF4-FFF2-40B4-BE49-F238E27FC236}">
                  <a16:creationId xmlns:a16="http://schemas.microsoft.com/office/drawing/2014/main" id="{372775DB-5D1F-03BA-D8F9-AABA8311CFB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F313D4B7-A556-5BE9-997E-22C94573861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793440">
              <a:extLst>
                <a:ext uri="{FF2B5EF4-FFF2-40B4-BE49-F238E27FC236}">
                  <a16:creationId xmlns:a16="http://schemas.microsoft.com/office/drawing/2014/main" id="{F4DDB03E-DAF3-FBC3-3A5E-F91F39CC55F1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56107">
              <a:extLst>
                <a:ext uri="{FF2B5EF4-FFF2-40B4-BE49-F238E27FC236}">
                  <a16:creationId xmlns:a16="http://schemas.microsoft.com/office/drawing/2014/main" id="{EBCAAABC-1B90-DCC4-46F7-2DE974A08CC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289695">
              <a:extLst>
                <a:ext uri="{FF2B5EF4-FFF2-40B4-BE49-F238E27FC236}">
                  <a16:creationId xmlns:a16="http://schemas.microsoft.com/office/drawing/2014/main" id="{210EB62C-2EF6-85AF-EF8B-7E707B5D02F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67727">
              <a:extLst>
                <a:ext uri="{FF2B5EF4-FFF2-40B4-BE49-F238E27FC236}">
                  <a16:creationId xmlns:a16="http://schemas.microsoft.com/office/drawing/2014/main" id="{3D05FDA9-4206-0358-FEFB-5191335489C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2156E2B-F33A-0702-2CDE-23AD4F64C4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Survey Deck 2 – Sample Outpu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2327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FDC61A9-D1D6-A38F-2835-7FC67F9D9A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9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DC61A9-D1D6-A38F-2835-7FC67F9D9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btfpColumnIndicatorGroup2">
            <a:extLst>
              <a:ext uri="{FF2B5EF4-FFF2-40B4-BE49-F238E27FC236}">
                <a16:creationId xmlns:a16="http://schemas.microsoft.com/office/drawing/2014/main" id="{8801AA11-494C-370A-7DF0-4F9DE419472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1" name="btfpColumnGapBlocker563237">
              <a:extLst>
                <a:ext uri="{FF2B5EF4-FFF2-40B4-BE49-F238E27FC236}">
                  <a16:creationId xmlns:a16="http://schemas.microsoft.com/office/drawing/2014/main" id="{A2B65E92-B6FE-C6C3-6181-E9C396D619D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618003">
              <a:extLst>
                <a:ext uri="{FF2B5EF4-FFF2-40B4-BE49-F238E27FC236}">
                  <a16:creationId xmlns:a16="http://schemas.microsoft.com/office/drawing/2014/main" id="{4135D95F-8AB2-4CA3-9750-628639181F7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831762">
              <a:extLst>
                <a:ext uri="{FF2B5EF4-FFF2-40B4-BE49-F238E27FC236}">
                  <a16:creationId xmlns:a16="http://schemas.microsoft.com/office/drawing/2014/main" id="{061CC01D-52E1-CB1D-24EA-AAE66FBAF264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450987">
              <a:extLst>
                <a:ext uri="{FF2B5EF4-FFF2-40B4-BE49-F238E27FC236}">
                  <a16:creationId xmlns:a16="http://schemas.microsoft.com/office/drawing/2014/main" id="{16D17D1B-3E70-9271-CCEC-822027272E8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ColumnIndicatorGroup1">
            <a:extLst>
              <a:ext uri="{FF2B5EF4-FFF2-40B4-BE49-F238E27FC236}">
                <a16:creationId xmlns:a16="http://schemas.microsoft.com/office/drawing/2014/main" id="{6C1CA727-11D8-826E-B0A7-BBE6F358C38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0" name="btfpColumnGapBlocker649543">
              <a:extLst>
                <a:ext uri="{FF2B5EF4-FFF2-40B4-BE49-F238E27FC236}">
                  <a16:creationId xmlns:a16="http://schemas.microsoft.com/office/drawing/2014/main" id="{E1CA2DA1-6315-349B-12AC-CB62BE7F26C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482705">
              <a:extLst>
                <a:ext uri="{FF2B5EF4-FFF2-40B4-BE49-F238E27FC236}">
                  <a16:creationId xmlns:a16="http://schemas.microsoft.com/office/drawing/2014/main" id="{9C4F72E4-0A2B-BB4A-77A9-5C6A837212C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745328">
              <a:extLst>
                <a:ext uri="{FF2B5EF4-FFF2-40B4-BE49-F238E27FC236}">
                  <a16:creationId xmlns:a16="http://schemas.microsoft.com/office/drawing/2014/main" id="{EFEC4FFE-AFFA-C94C-F78D-F655B996796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81659">
              <a:extLst>
                <a:ext uri="{FF2B5EF4-FFF2-40B4-BE49-F238E27FC236}">
                  <a16:creationId xmlns:a16="http://schemas.microsoft.com/office/drawing/2014/main" id="{078A9563-B604-C075-8AE9-1F0C35B1C1A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510A99E-9BF2-403D-24DE-E5084DFBD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Target greenfield vs. switching consideration</a:t>
            </a:r>
            <a:r>
              <a:rPr lang="en-US" dirty="0"/>
              <a:t> | Target has been winning more </a:t>
            </a:r>
            <a:br>
              <a:rPr lang="en-US" dirty="0"/>
            </a:br>
            <a:r>
              <a:rPr lang="en-US" dirty="0"/>
              <a:t>jump balls over time across greenfield and brownfield opportunities </a:t>
            </a:r>
            <a:endParaRPr lang="en-US" b="1" dirty="0"/>
          </a:p>
        </p:txBody>
      </p:sp>
      <p:grpSp>
        <p:nvGrpSpPr>
          <p:cNvPr id="13" name="btfpColumnHeaderBox843010">
            <a:extLst>
              <a:ext uri="{FF2B5EF4-FFF2-40B4-BE49-F238E27FC236}">
                <a16:creationId xmlns:a16="http://schemas.microsoft.com/office/drawing/2014/main" id="{B93247A1-F7BE-ADC0-5C20-DED35FB04F9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366272" y="1277362"/>
            <a:ext cx="5495528" cy="565217"/>
            <a:chOff x="6366272" y="1251862"/>
            <a:chExt cx="5495528" cy="565217"/>
          </a:xfrm>
        </p:grpSpPr>
        <p:sp>
          <p:nvSpPr>
            <p:cNvPr id="14" name="btfpColumnHeaderBoxText843010">
              <a:extLst>
                <a:ext uri="{FF2B5EF4-FFF2-40B4-BE49-F238E27FC236}">
                  <a16:creationId xmlns:a16="http://schemas.microsoft.com/office/drawing/2014/main" id="{3394A479-4DA5-11D7-C2C7-AFEB0E92A2CC}"/>
                </a:ext>
              </a:extLst>
            </p:cNvPr>
            <p:cNvSpPr txBox="1"/>
            <p:nvPr/>
          </p:nvSpPr>
          <p:spPr bwMode="gray">
            <a:xfrm>
              <a:off x="6366272" y="1251862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Target has also been improving with brownfield opportunities over time</a:t>
              </a:r>
            </a:p>
          </p:txBody>
        </p:sp>
        <p:cxnSp>
          <p:nvCxnSpPr>
            <p:cNvPr id="15" name="btfpColumnHeaderBoxLine843010">
              <a:extLst>
                <a:ext uri="{FF2B5EF4-FFF2-40B4-BE49-F238E27FC236}">
                  <a16:creationId xmlns:a16="http://schemas.microsoft.com/office/drawing/2014/main" id="{31CF482C-3CB8-7224-7855-B58F4E9F16F8}"/>
                </a:ext>
              </a:extLst>
            </p:cNvPr>
            <p:cNvCxnSpPr/>
            <p:nvPr/>
          </p:nvCxnSpPr>
          <p:spPr bwMode="gray">
            <a:xfrm>
              <a:off x="6366272" y="1817079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HeaderBox583794">
            <a:extLst>
              <a:ext uri="{FF2B5EF4-FFF2-40B4-BE49-F238E27FC236}">
                <a16:creationId xmlns:a16="http://schemas.microsoft.com/office/drawing/2014/main" id="{E463593B-F73C-98B4-8DB2-A7BDAF36453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199" y="1277362"/>
            <a:ext cx="5495528" cy="565217"/>
            <a:chOff x="330200" y="1007384"/>
            <a:chExt cx="5495528" cy="565217"/>
          </a:xfrm>
        </p:grpSpPr>
        <p:sp>
          <p:nvSpPr>
            <p:cNvPr id="17" name="btfpColumnHeaderBoxText583794">
              <a:extLst>
                <a:ext uri="{FF2B5EF4-FFF2-40B4-BE49-F238E27FC236}">
                  <a16:creationId xmlns:a16="http://schemas.microsoft.com/office/drawing/2014/main" id="{E607FFFE-621B-4D2E-FFEB-E8A03FA9CE8E}"/>
                </a:ext>
              </a:extLst>
            </p:cNvPr>
            <p:cNvSpPr txBox="1"/>
            <p:nvPr/>
          </p:nvSpPr>
          <p:spPr bwMode="gray">
            <a:xfrm>
              <a:off x="330200" y="1007384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Target has been a top vendor for new adopters, along with Peer 1 and Peer 2(x)</a:t>
              </a:r>
            </a:p>
          </p:txBody>
        </p:sp>
        <p:cxnSp>
          <p:nvCxnSpPr>
            <p:cNvPr id="18" name="btfpColumnHeaderBoxLine583794">
              <a:extLst>
                <a:ext uri="{FF2B5EF4-FFF2-40B4-BE49-F238E27FC236}">
                  <a16:creationId xmlns:a16="http://schemas.microsoft.com/office/drawing/2014/main" id="{E925FB0E-EE01-B47F-0B9C-F1E04A3E864E}"/>
                </a:ext>
              </a:extLst>
            </p:cNvPr>
            <p:cNvCxnSpPr/>
            <p:nvPr/>
          </p:nvCxnSpPr>
          <p:spPr bwMode="gray">
            <a:xfrm>
              <a:off x="330200" y="1572601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XUBWemRjAOozn/HmCP9ikBFEj1B7g0OllzXFdy5vf01Z4gCqmgDe+Kyi7PMBnmA7x8w2zuCiEXztiDmIzH+jkD75cz0RVtfbg4l/fDPTtaih/sMJVQg1AFRXOMfOoweKj4zbCHt+M3Xbk15QRt8/N/gj+8FjcpdE+YuOKnBgBnkAjlN7qe+8C+Mtbipgq1jjWCtx5zmANzB0iAuYHHUOZ7AHDE4N2ULC9nPWxAi/1B/feHj8zErYDN10pN4CJRsYhJFsmjwoWhQd8fUDZe6DPurZUtXmkykNMI4gbbbtkwQL+AIMaSNeNWWjb1olX66CwgYeJbyApJu5867K3XkHoFBjEygZKtr14IR0QUYSPAo5004EEo500GVmrRvjowva2ndvdWjOw8cDEhf7r1fg8bbTQdHf5rdqEu1mNW1OxzzNsGzIy+K41BrclM7x+K3nQfyxzLMKTThE0Af6CGWtiEFS1ccbKWiQReLlDKVHlraibeFPzMH6UWou4bACseaLSL4eRxkr9igsAehRhcX7UNj7JmM8dgVTlR06bCf93VWKbl++64+xHitIW20gfDszISS9stqY5Disoe0wpGUqaigPHZsPL1YAnvXUfk9ct8y5Z6sNzSUJZdP348GVLoCj/Vk+7ZK1J9XYVSIdRYpg71i95IL7y9eozXjX47tyQFehigSko0y1x8fh4LNqTSBXDMHUq9ZDorNjrvmOFOZRvgwCNmOQG2giw0IuZbL+BghhhYhV2J+47Mbmd/++rQk/+wLr8gUaWANQty37CjObaIAKyYfxntBFZOQQOWO6sMpRABWutghsFokAwRsindKftj7gxSDn1Aai9GQsyaifiVHpk3MUP99di48IbEK6SO3qARS24ZSSAl9qyibn6AMPGr+yHHsb/jprVbf+cqirIAybuncV6iYyr8/HnRsguWvoIY/+sxZeZs2FTxbq033PyCFvcdGkvq/Pk6+oGZpxrXd/qn7FEv/t/NcUYiQ8NnYhmJiFKCi9TjE8pcGXxjDQSL9QdtHaNGvHV4D8nQOfvu/1F7T1SRa12j1savGKe6egiKGz8wyQcm0uYGO9fpUd3IKcfMmHgMIGELlGE0bKYkxt3VyILupxRIUwsrV6ppKgkjKC6qtBxSKvxA44Sd9TTAMfEEObA3encCqb0FwOq+xCd0eaQvAV7adNPfRI3p0Lr7hP2tlJGL/E5MqEDiDgcwtuBbyJK6hS0gl3f/86pbGEOIjRZa2GR9KLPTxRoSJJzbfezvekgdi0CQbO0nl9BSXWcQc1HrdYgt6F5UcBJn7kqDRnuKmzrCSCAzok6yqOgDCF2sw5ZJ28JG2n8jLq9skWIPW+ekPA8V66S6EaLkCXFDrNC9P8hR1QIVWQcuAx20t2YCmuDi8RCNELj15+XLOqa8aYMD+2SUtCO92TvfUjUvlDkHsfC12penYa5N8/EuFlFZCF6E0rD8FrbGklaeNbgwTAAlZUHN3uLNkSk0AchSbnQDOtr4/+jsPWmGVTaMdssaygL/dRXb1MxOzMQ7cAZ1anh/xlKsYMv3K5Doqt1FjlrVDYxgXbTwAQUG7dJCGwfzVdyy0YqLOvoAz2ltJDDoK7eVhDbrDQ03w2oHyqkrhF2qqjWt8HcjKHpooAxTKQ5RQ8aiuFO3lDonELfuzJAUnj8R9jbqXeOEfxdsoQPwIHEDgxW8RxJ0yYbRNqPWC6JoB0+DKTVilO3VecPy6HzYa9a4PZcCJsP+EdisG08LYfJ8DpFDY2Foa3Xq3zgRJhr80QIJU2heMl70D1haTIvG9lvlTvdKzV1v9H1CCrx+r+1wY462pyHZnWVug0yt4j1pMBdDtGdqDtsclCxKJoixh9WjbMFYviz9k71a24JOGcsWsT7apQrCP7A7g8B8qbZgCKH9sjNvU4CrqtYosmcqx5mRsON9fRAqrUpHRPnXBX+Rfzbo9itfDM4GuUUio8HTRXUjxtKR6jHPyhDUW0kbdq4wI2RTxC9uA7pc7VKpPozAWJEK3forbbMpd+yjMjBpQkMcCXNJyKadJ47lOrpnwthvvt3AB2iJ5nChddWfuzIXCECC0Gzq7yJlJmxwwH8GKGl6+AkXLR9K0HoYG/l/dpdcIA1JXEdesUQWg9FLhyJNHM5Z69gJxwpfedbxuFD09tbcoM/ZjoOQAnHAljhQojCh5Ul64SJMndVL/Ay4nMrQHraKiRKdDTonO868Jk9gnxXYOVf4LactzylcXID3TFUKfCraP3Ar6abnWuXPhzQ4gAUj/jNoUev8EIaN8dcMbGtS+QLYk9ggDSFesCqjuloUAIEHNI6sHhmTDxXZsllsIHqi0WHce333A99fpuBM35hiDqKhZQPg4aaf0uMatOlzik+tpbPPLUsVTD8g/eKWwinSE7ARnVUPoVnxPWIupGBx5v8taIybT+qkyjh7r5FFZzMjqRbvpviPtpMsa/ihXeHn+8PEjV4Xiqm7vWj1QXXLiqyxZKv15HFeuiAuirAHcVpi7UGKEjzllHg6jt+4gLA587eK29mLlVMnVZGKCNU2PtaV9PVaJZPE/cUeuBpYwDP7g/IjV0PR/E0h3VE6ePCGqwoMDNNBX++JqQuUmu4dcMiVTtleNG1uDTIkU886fC+/e9V8f2be0Z6612WRUDJiRBNpYUbFQYu6L2pmK0vRianB5WaNvpMgFjgTRcX22VsCJELz9Br69+h8FSZko9+pYEVU4Mzwe7JUTCzE7fNL4XAf1jTbbbpP6t90NoZjxS7vliKaK+5hKcACrdvCeXJ6AKyf8ErKd+JQzHhokxxXuLu+0e91vchrZI6jJxxr6pLNXY5+8ldmab594NETUqn775Z1iYsF/4FK0RvXATYIopTleH3DU6bSlCYGTveAdmbIKeZdqVcfYVuP5cFQhjgG2U/g1Pk5K+bwyAjELqW0yNMGkyg5kn8oliSQg/VecZ/+SjpcZYZbCVYCCkYmh0EOKI9UyODFaLMnXBzdvfCUmfFJCJb0YQ/woXyqpE5U0+EwqovK4Rxi9YZ0oRWrmshPdVr0+62pIKViSO5JnLXnum08/7pU4sTjfKx3rC91Q6d+xPtaUi9glY8dKT1yPtAbmQgYW0wtXhIR9LufNzKiBtLdCttQu7k6PtEB/rDzLxlhxFrrxPd5/Bdq9JvTIZJUCj/Ur84cuE2q8f/hfdyOCU2BDFxJ0jGu57g8GXRIAlc2YIVpmUG5JO96PotPtVSxPCPAaT7MR3PnAEkQnQoN8HBRby6PXCTBrF8CQH7/Nrb9+jjNPK6LMEApiPf36XxQ32dC7yWWqFa/Eh8FPwbWsQXgD1j348XHV77kUqV1Ddytw+R2G0w0BT1ks137orqV7LulfsgbqAOtPlmGF+HwdeEZnd3zLRMX4Gh+Gpuv12ycCJ7C33Ps+mwN9yGD/dWE6mR8Gt3J91xt0dASjdTTW8QFQYjdWhphIjFJAhEZbcwlJKJ/FjPYP4Mx/OQrtDRS8Qz3VDJ4eGQ9hpSJJoqX5gxwc+OphJbI0Fc12K2A46MqNtjxlFRN53eb07e7EX4mb4/y3+P1EppXhQHJv093Jgw8e99mdY/XKCeRyxk3BjddfN8HysLkUUWiH0KTGe/Kls2K/hLt147vPU4HRiHPNjxIA1dANnL6fydbwLimGS6fvx2+HSEim4T5g0QqsSRlw/3ztRaXMyrzs2Xsg0d/6i0NHaxnV01T2c60CYaUGu2i3SzzkdNnonT48Pm26lQedAbfAMtAio3AwYiBgtkTqH9StumcJwL/Q2OnSMiswHCcYRxOzl4yKhu8Xdu6u414KxCMZSX/hFNA7f/UAaYOsxgY7T19tOd/TCx6phkjd3D9oyIGOMaB4CSiptVyChePQId/OgcyYHtBHc3RIqbEgYm1y8D9ncaGKtorA7ltJIXya4oi1UWLw9tgs1IB6i9TE0NA8HWc3MubQbTqpxRmg+azKu0v08e8E2KLUi67vnuxX2pORPx9h6S1uVyUDME6u0X+df7E2Ip6aDAI7VL5LV6qEYXulLvy/OSjmzFJ6d6VExlilc7rHYzt6gQDYRr+8lRQAtRZ7CV4FYbidNlgRUlh6owPmAdJ849nMe+6EOthrRJm95z4IAbDxT215gEd6mVs29jjATrev6w+E9NdwZMKP3ORk81tdLweu1LaABcVu9VXuJQH7zOX2uHhKU7wEe5qSlnl0HXpH0tzb7Mf+sDdRO/m8eSU0H7CsyDSLp6tjrXROwsXY829RvmJnqmA6uQ4kWskqrnVM4y5O/KQPj/NWANmxMvp6DRv5L6/7g0WIfgedbL93IOL0k9aNYS1VScrP7HsRo6h/qoLuIQYp1XMLszQ+eadGRwbSkzOG9zee/Krl8QVBhjMXEEvvLMdh4LQUQ59CcmW32A0m0b4sI1kRlQ8pwHiKYo67F+KBzC9kKXab5gisRTSqeyd03Hj5oiMEk2ONlZG6PtQ1qcQvT36WeX/GcOXQYiqe0eJ5AOqXgmP8O7f0tY2iOr3fGBlYvRWA0Pwo9mPRQK7cZWQmdgfFGzp2XrIpT4NH0F7ICeHoys6DM89aeiWfbSWwJKtVqSOOrh5ni3+xU7WDyU367Htg8JTSgHKk8YTb6JWqsSutAvDMqOMcTFQjJMJvYBV4We5vP5NhDjgMHCcTKjtiSNplAGuL65CN1Ozx/rIvrNxjZiDx8bUUJGzKuG7gIQcFn6rINK/6ntUoEGB/Ktkbu3ToxGxNMd5AMHJ12zjPvvgCh8+ZJJaoQNxMlnAyFePQ406SZhjid/5hcBnrFyLEXjlpvSD4KSkdZ6gewKP9ZPDDPcXuxsKzUNIZqhzgvYtuCHcfNf7CBbk/p8gbPoessJJ51lDdQ8BUiAGOZ8S75vUYhc4MeaAuNhbK4qs6Z0hJd5SgqnLqgJc4Cj7CS1EvRy1wAS8VB5nlWnZz+9WjvKi85mb/zaP2Hb9qtVUYp30usxVrKcZPjy8AcjxAC3+GPzEFDePYLPtreiTg7+fhniUXukx0d6FO95LC6OznaKOb+bL9JEj6ijVLF/oY57jNQnxeV7i72rweRNbx4mxHTyM98S9ejoC5lrrjn1rByLo4OcI5fXl5+kLghuPpn6JN50rsab0oMIjonDCg+/cAkaUWBtRMutIrKQ8RC3EBHEEkpkn1fPLrIzFpUnEX4eR0/VpbvKpn0Dlbh8hyqo2mHz5/ypSPIRTAzlZQfoQA5hqj9Q+o97DpXKO+UHFCr/SSNXYpYbxuTNuN5SSucnfLq+tuocgl1nOWCkteyitQwrFP2ifD95IlBFckkoXzy5Fb/FXn7OVd7ByYfbMJMHbYQy/wW6LbMBsi2n85bsBs75584dXVRI66EekRdneyz2liBKNwnWPmVOLAZ8OZAHfIlNQAqqcaVFxSi0gEtjiUvmc5K2CiAQLnGH7tq6nE2asnXTVl6CS0svH0d5eUnZTKud9VrkaLjKFSzGs6JFGe6mlBOtu/Ro37srMgJL60jHwNITF4XXWvBCKiXvCcJ8APq66w/3QVSiqQM90fg8rdl4ieej3/wrddF8v71mSBc64cYw1y7Qy+bn580GS/33vrqfrf7zXlMUuTftpXbDQD/sTRlDJ/OjYjUdg860lFX+AoSMtb1s/f84zt3rLGyvRgBRLUwZxKiKmI95QZeVr7/kIler5JF5RmRJbJxSJOmYztbUmwvCsWeeiPKAVoY8ac1rs6uJDgHdgIv0LsKLnLRohpNWqkmQLa7q5ki2wigApriCMKE8H6Ulqbva7Vi54qZm5/ABXXABntxpQBynxnk+wJNKD6s/+NU+Gk5OY7ju7wp6QgkISQY+3vCbv2Lkhfpt5xni4T1HxC31k45bCfwMAvXZf0kJg6SRKwfsx6BsnWXQSw9+sCk4VZVnXnimxkStcr1O6B9ODYlml9teiraW8/Eti/4ARZPXJNbkdyNNkY5Wa0kymPdpNnip/NFJZt6lvn4rOPewJ2hY0dB9/O/0PPK0HyKyvwvOJh0Xd30jCJOE9N8tE3GPCnIW1KOOmqNHj1diUdsh3elpikrKp/kSHIJ3Pn0zYhzRTaAL5y2d/hoXa8T/Ru9F1STjVEFoW5AmS0Zi5JAIT+DlbO2VNq/WZCoQ3hSVhEntx6nYQmCMyPhBmhOKXxOz+Z6pYvhrfT4txZ5J3YJ47HerHeLje1mNeDJTYO2P5sQPrmk59jnUObqou6KXOVyVDTt1ayBUfhotTL6p0OiT6f0SstJzsHFSDYw3LmXsvjw6dJHg3WdXUNF31WE74FwF8ExRBATz+xyBrUHBpig8vPF8iF/RgA4yq83r64WeHLeTTDmeeKd8gRi7elZv8982ynkKyM7Ry4JEXnq/5ol/dXsOCKHjjdFnT/Z1M/2iHTs5jobIUTD2CH0WqtNHQXHLNiiLp1eIQi2mzMZYPhLNLsL5TaSsew3DlFSHPgsmaYdsDP5oRD+EbP+AUJLVkkBxacE4B0y8ZrcumqJi3pUT1QILCTVXr+5Skhk3dmIlHB5LbMLpQoiXcGUOzkSOjdCQ1r9t2jvlshJFph3n1WIxB4513/BQ8NfkCUAiCgCMiagZz6u3rN35x+F7t+HKf/z/jzM8vh6aKszJ/IABxqhDmwplFwwMnw4PituapWy+SbwwjnO5z1Sk73U0ql79uygObtAinWFk3r3a0ifz2iO8zwzl04QJ0ar6WNEzF9PJo7mcy8blKCCJH5FgjAakhAE3ZGZDRweApAK5IOrq1yaNGacxzbvYL08semcJFwZP+GvT3CZM9HFxS2/ZHODIQhcZUvOobjl4y+lXxoC55RYbENa2tpXz5GLnziDkEUDXUSCNn/RWnjMnw388qpIH0yoDyqrCPhV2NibNT8LW3hBgwg3UhBY4Udpuo3cnaSjWyRkD7FlJQCQUHntvJs2S3OKL5JK93/TyWDD2LK/NY/6Wd4mAhlKD4sD13MQ7PGC6ZU406eSqqAHeV/D2P2qx4odZf6g/Eta9+8vgknl1KnjJ7gkW6GW77JUpZEFP6RSIVOwOxrEy7jmCuOW3TJNITqireIstfNOiUe4ivOv3sEEAyeRKxUrOAhC59L7AqjoPngxurYU5vA0EC2199n4Vf9PjDhc9fzCJVNBmVW1EAMxZb0DYcPEFWzalScgS4hsBgT6kewp0jwWUBogKLt8SpwqxbZPykJcLc+8ZYXDvOOXV6ApwSx9DOKXMmGa4jc5XeTv6kf3IToPzLnKzmKBU9rKafhl/YnzHU+2RTHhGsgPVSj9gmEklwAIGActsM36c9bVw16JK+EDUrtgRef+fM92HQvjjSEDKfd9SFDTHvl5gvX6oIxgiBS08DHN2HeJT5TUOchPeYOQt2SNo9A2S+SJfRrEMYjPQRVwXKJL9ofjCQe+KIB99wZCkkPtkjVt9NCXGMRUwUoh1pf/+xwihmilu+z+ErDr9DaUesKlxB6Eb9JhfUw0+l1adxGVR1WmwlNW59sYlvv8ORlVx6+wMz5TENcPLDPsGggLMed13asE21Xzpe+5VA5BYrONldiA6AEfOxxXam0Ewe/NHARVg4DDYgl28gSjwh903Q+HAaq79e/YMqX0qUjx+oA84ha0osFy+LUKjax9/zLPI6WoLNVCXLlZPqeZqe1P9oHRNyG2Ds+IJ0fvgPhuhphle4VFPuC1I7J1dBcU6u5sAA56RRWJb7CFJeu4fJ5W1/7QPGnqwcC1Ay+bduSiN4btgaVGIGqBu/BAPsE1kE+//MklFySNDbbSPyzEM5vyK2B8PiYxa5+bi5bnUbWWsW1DiEVvuzuAw9S3sSxGEXr8BBXhTHai08VxTayQnCR7YX88FzYE8HVMilX5R1jQGDgE9SkkKQS27hMkzzT0wOpo95bjhJswKw5VWjWQP7tRaZDWHXQOrSCxr24j2x3kyJWuVUCmxGlRTwdas/a6iJF0hSdn8GN1NJGLVNkvCOuzwQuUyqHS3jvmMgjbvu6yh3aGmSZzhBChQ4k4aG2twBq6hqDBZOcGmpbB+VsMnWWZUVvrZETsNNetBa9i4ajXyeIUxgKJMqejz40ZNp8syzdDhoOjWF3O2/n79vTHDuyrelH7ba6lDBmAx/7cQTACccFuWCMBXXXRMN9rC/0gvMmAsdzDHCjSrfL0UzyoR+jLfr7ikJXaqx7mer9BY8a1hu8o6FYX3RAEmF+C/7xKsb3ZLy15sr87qry2Ba4dm0KIf/c/V1iA6a5HuHWsTIZ/VTPgDwY8WLZCfR+Rc+Hwb4fM1mdqHADvSH0f7cvRwLfZMIgXmjOUroeDtCC7fUbfS1dJwpQR8Np5IYC1l72bR4Cz7FwThlNRDkA9EUzdDJBxwuuDhLSMOjMA7hS74MFMn4ppXYWU0iQEMlPgJ19PrVNyTG8VgjZCfrL81sNHZeKkkmHyf0JLaHBmsyjQPNZbJnpIfmKAZ4AZSUHX4BmHpFfLfLpswbQrAfcJ1zh9Fp0FfKVl7oS9ai37IuW/nWv1lEEEilrnFv/CGSrg/7Sf1pj31qNelbj5PL/skJ46Zd4tsnKcDyT1IDOPRRkoG58db971tWo1DcKAJDM/y5aezKMn87bfGFG1cbNn+Drsx486gqlG59snEGMVImVYRi5nskxoU9Vud91/l9LWHF/DNINvxxO2hIMuA/PVONicFM5UQ3QBcxH1BfhCijgWJ0z7uTIOa+mWAb5NdOHHa0EJSGBcfxIeqD5VARPEkhmolDa/fnavMDa0MzR4/WoDgg2M8og8TUr36/gbtlYC7nAGkPfpnEjJUf3M+IN2JDxFdoYmbY1ST0V5gRki/XnClkHKAFFs4eK5tL/Zs0USBbsFzI+ey3jiEjwaRAy5B4lpcz/+JGtSFT+Kn8+cnALSnbKRlZf8qGtAWzYzbHVkAG/sZGHJaNYh16BY6ODtuUhIGY2ip/f/yvrsVI/iTCsUa5UqWkMMHN3omCkWc+bZ2fwAAG9SIKpwvMcJ7sMZC3JBHmC7yo4GsaNeY/Q4bkbmATPY351mx4Y4RtsLJP8IwCyjYiNF0EM5rK7AaaZVHXqTWzXTN6Y44p+S1iKyLSN7VTWLKudW+TF/RltXplRvpPgz+CuODFBPZoDrxf/6OS+e4abBQ/UFGM/nZO6a/xf1RnrAIj6OH2fZzMIxuK47W/O3G6o+JP86358UuEp5pajoeKt3uof9gLvtb5o1wNr8PcaQ0LCcEiel7lGae48P2vg0Mvj6bEK1L2/XY+0ynF6FB39WjFMiiPFcMtvZK/XrVAw5Or5WnNpf0FmfsUEs+fCdXy9EaBG+Bd2LM82lLEmszz9rMvADmxbje7N0vqNPz29uwl9L4hFL6mZNKt6Ph/Pvctb1nzrVDPAx1rmWoytSdetmSNRhUjF3gRobpStyA1NhM8k67xzR2SXoNS4liNW5gAlkYLJ5+s8yfG5jz8WEQRILRfpb9eETTM9bA4ZYk4Ats5dSx6d0wG6OoZxZ8tDWhnvyaRDSMBANrAzPLSBtmyHb3Limr+CpphnZ3HKIHyLmPboZCUXlY0dIob22DWpzmIzz4aWhqMVSEp67x8j5JqYHNN+EwBuluQ/OdPtS4QYxYKS0BKapSghX63YhGvJXt7vA4FoJST4IqVDGUB9Kmnh50xtH33lgZk/3SYm60Vq4Di/qYPzeuX5KxuthxS42A053MSawXJhqUCX901SX7BY90rDDZH45ljS8NrellVZlD4ar1fYphphVHe1NttekHcWPh1rBrjKgyIt2UWHhyCv7egSbzjjuHWg97A5a1iFIO5AAZPtCSRJLSGmH/NN5ceQEP4GfJiv7dOKaGnRdiH3wPWOCvh7RI6JYe4pJ9IrR0T9n3ax7nQw1pvuBG5Q26wyyKHaaZHnRoWO12eKv9WRL5+uTHz868Q7TlYBcWiWrGNoVaDm96QmD7FRU4+8+PX4zavNlxNEBVjIf76y9Bo3Mmx7dIDCVD+1Fvc3zosjM8YKQyl0gzkUxfMDCGmJK+aWf3K2YjZ4M9rEkOyU97Q8HW3m0d8OiZcuTJccw8Uyd+Rp5p2SAC5NhzWyuTV5qDoKYt8GrE5txlfySKN3jBGoAaCKIFDzpUm+QSPHyb8vEoXqlnSRw9dWiZ7jhpB4zV7oG33SAl0WDvrt3uA0nKMMaLsYzE2WxzI9a314uzrLLop5Z5CWbQTfye32dmRel3fmRrCXQSmNvPQcRescn2NIgrVkGdMcGG23UUjw2s1CENeUKQZNP43BGlUnVKrSXPvk8X41pcZuyzOVukzZ6asjxFFyjnUb3uggxMPOzg56w0ig4IozrfbQjHPuN63ZRy8Tk0PjOqO6biaEXm/Xch9j5fuWztjK+6gGgb3kYlq0DIW1rsNdtbZquSRgoPNWUUKqUaEL8u3oepy6KdG0KNJT/fUB5L63ppK7sMKuwfB24gSaT2UOjyRhyYHYtsHS69Nzk9BpbfJVSb/tlBH7tkjFcIIWX62z9Pk2ryx8xhXfHywb/4C8jG0jgMJMePaugJ81p+KYojKER2m/usMVVlMxjdQU9KCSvE5gf/Qe5g6Z8937+RcV4ysgY4hbyy09616AJrhc3PeoScz/dW3UrMTzuaqKkFFPRstXvGPM5eRag06STSHVsi2fvMKzq/by6H5KKSRTaUgOY23iUNDElEOyJtN4CR1TUvcbpwpTCUuY+R4OmtG4ttTcJz5wZ/zoXOa8ZgWHYmPmXVz9lnzS/N/djSX03aSSPX67/oGhCWsIGuvq5mq3SxAi6uaHSb4pEz1AX9L2beXY4vak6W2yXWNBpezCriV4o0+Du0okm2NrXGHWfV2AE6Ax6qQPjI6NrB50mv8KGKOXJKsVmHMGx968JyX67uxjxu5UTfVx5xVbW4pMALdxppQh4oGXzeXHt/Blbzo3TfKNCeX1B2k/DzO95wwNpY3BXQz7tBYSnvcPH330QywP07gqWngjRTTnCEpLIL5Xtv8S0InRWQPhp8PYUk4Vu9DQjL/64ZFZZzq8+pkxI3GafvCh41Q2gk66jHZ/c6IuFCxd+2XnD4YsGzOwxGsXMm+FI3RZGYTDOOKsTMvbi78tJgFDy2Kltes+btBLWWVGVq2Eg5yRFBkhyExJv7wa4YCpEOuhd0bhCBjm/HId84PPsIWfgv8GN499AB0EVPC64QqWi9ESHyG30pwxaKx4DuZpyUn5gP3JFsI9U3877LxvuJwVqJOu8NAU016XmTsHQxnt4i9u4Ib6JkOOEJ/1GyvaUyzkfC2uCOEVPrB7Gl66kUREJ00MuT8TS+FAV8MHmqOsud6OPUA+JV3D355sHsV99cNM34BLA5QeHa57gYYAALxCb0+czseZpZH952I0sBMs2Fr6C7HCBx6xkfQICdC+xWmtEeHwl7ae/iJQIByJ4S86V9runtq9f0pqr6r4F3v1GnLogyugjcuqYMpLu6DKIHH7eO/oEQn4MzoPMdotL/tUd8ba1d61KR8y/z1LxPnj3CD/fLQctqQ+BBxGIdqFw/cO0PL/zPbcvQMMSTAZijrmgB7VZMiF2RxUJltr4jKgd8Nh93M2eNPR5sDE4ajlY86V4LYCaVPtHkd2wBCtFDjLRVG4+fnXApq2v2tje5wkKr2wMLbe31mJ+HuCMpl9II2G0ZbRMDOPft9PlpEqajdaUQ7HxOtROwF5nffVo6Q+fhw1yfauAHVOgoJvRTW9b9jihQOMBlTZze9gBy1CsuQWVqacxdiE4xlFCbFoALp/wNk+FA6O73alZXK8s8XNCBAcKNd1BeHU7XeO0zN3veOnZPYre3pOJzFNZw+7s9Xj00WhdKrz/TbHZk9jguJVZ5bZ2B4Xf8hyO3TKnR6WktWVo1/it58Cf6XH5XPDJBDMoNJo5EPSWg6977pAfVjrgK8zhEZ1cwnAia39sU2fs1a3alhvo2EwtY95AmYVGu6+Uab/8xjPVH8MU+eIzOwn6TVnULcxNVCK/YB1FzJw39XcKmywRkGwwHkZvyg2cufuvPnyaeFjYMXwRyLOPuqt98wWmOs0hWlN6xTNsXczCUKBc7qBXKvxbLloCxgjBvkrrou9cfghYu5aoRAY1nlOJRY1CgUByxD8Oigq4cpT2hUBtwgTmQJY1hpHXfuuGBP6X2Z/AT8yvmKkV553elQjHWGQUnynDl0klVoDNoMmLn1l1niHUDIZmT0VZaNOk+trJBK8RauTgZUkCTqGCYAX5IynNEMq4d89ubhFfJ+hMtzEH/jmqwyL1gMmws9XbWzjpdG7X6T+2eISXtVqwI4QW781SWcUkxRZ7wnHJsxkqPDMt16sp+6sEinVgSzgxmsKNc8YSt3HtIpkz5MnG4CpABJSDQBnIHACN4mC9t37A7ov9tTDEF9k2UeSjRvV7VC1yOLHx4J3ZVlFV+JLMmO/ENbYjRBdspEzNmSdgEX/dYpCPX9PI4Y/1hRMgb5oPPGX1nVUTHxfLh3CcOT8+b3W5mFMA2fOcghqlzfDzCqz4r351IX7f83cBgw+mUQJjs+5APCQlvvVN5x1CWl/86DhjPWZbwozhlcr4+ueIWKD374dM3HTh/LfdNb6kWII710emNy+LsPV2W5iBkWNm8VxDXxhDSzOP0ogv5HX9szt+CjDn2cz/5ASc/mrIYa3ANvXEl1Hsq8cHD5LB6J5v04zvjZIKKH2phtHGm6OZAJrsxK/R0vb+ALX3dOxUp5TQTS2n1DFoocMzxF31ByCZ+pNcC4hY/rXL77naAHBWeuBx3oW/bWpljGM8kcqCBxY4olTYA+w0DIy45dNebs9gFeWTpeycieyh+tr5uI7fsG4xoZm9CyGOvE6FKbgLwzzko6K933ulFMnxOtPPtjy68ZbtbstjRwgDCuH2I06TMGCOjOiiUiO8o0sTlsx5nQv/IeW0/Uh22RCxbk3lB9HcM4vBVinNRVRbXRCeB5MfJGXTigpO0u/cWb1h4nK2w7Hk+cayfQm70Es3eUJqPCOpC/sSsP/6CQqSI95YXBNrgv0Ox3GfijB+hhPS21xNCalTBhojmaGX3E6S/CgpRbBR0j/XAIiUFL59VhV54y9bCBhvdIl2gJuTKKwKsrVF/4Y6ioIN037pv1AKCzTd3YnrANQL1KHB6zsiDGQpU7vIbMadO5jihaVyhVg1CDxNUICLC+G6CNDXxTiP+1k8SDbHfU5AV0xAt8/5HaFL+hI+t0NzPJ0MQarAxVZiKwSAoXnXSTQLUipKez/UvM5r9mTqGe2sAV8kjjQXpnm7NfiaYeWQuXO5FpJeAB2OTsOmmoqc6Uu90UgJoQzIAC3CU8VOQIoHixd2sBrJoW8D3C94PhtDnjuT7KYHFdxcu3J9b2kQQXdF2Su4E6YXHTnDk3xamhdi3rS+Nv8S0uM2ZoSeJqW4htFYw2t5J5vJDbrFcuZVvnI7wn/SdHXU5gg3uF48ZhooNWLgqGG4BoGqfmilhyXrvaW12LXU6korXj7pHIygovsITkGAxPZoqSEvp2YWfyuQyE6jHFREhQ0kRzXrHKWcBSSzvmamldKUOQRM1O9kFJPoJvVuEBG8gRijY0xFVSLSchVLrnCjgQdeh9zQvOl9j+Lw9/sKFuEPyM+KNnpZPm7VtB9hOY56/euLGQs9d98JPhmkE2v9g6yEylVMcuk77bNupbsaGLSmycBRMRgG17MJ+A47d7a4VlDNmw3OSKum5ZQIsqGu2NeDpw1DWTMI6YkNy+EH249nzINMvrz14pJ3atr14LskpxuXygqQEDgSLFhHDANzAupXsyzCBy6MiEfWUUCha39v0xj18ibVUDWdLOzo/oVU8iTP01KCgrddn7+AyeDkp23vN66Fl3EF95HOH6RlWmO2vI1nQW5hr9+J466IUzbxAWxa2dkzwoeIgRaHW6gLYv9gHVkDZq32EVnbvMkACF26WDKqCshkKRsZf0T1LsaH159+hBNINM+xf+CU9oPp294khRMgx3TFwx/GIQwSf6Dz+dfJgHgcWKBlAc2yxSLLvXsdLXmddCaOA9RUzuEvcSn6EXfNAsrXxhgKSdOdwymgVFgP6jRvfjB893EQBZKS8xHByG92rDxzSJYKcH6/3Z4bSvksbgPAoYvN6eEmfnTxYugJ5bit5Q7t6eGGEKwNfV5YZqIZeAxZxCJiq7kVVHGZmcXdlx9zlJLb4vtt6vm1WEOGqIqnb1yBBGl0PGa/Jgu7zuq5uHCZ4zBcTsFKyA4To8xDCzuyB/a5MLNbm4EBTF7pHc0zr22cfyVhJRXiCViMDjoHY8RT0eMB/0v7+x4U2w4OCtScjzzY52tAlUn1mEkmmd/vmYUF0/wsOQi+y9BfeVPmJJnetAypSO45GA5dFs2GwbNRSe3IfPtAVcKoxsj2d+nDBQNvlDcJgOX0NI1zRsU6+oxC5ujl4vBo20KOWMnZ4kCoxFFpdkyE47nRmg0dNV79Pra+gpmtAfGju7w5uump5p+Wh0SwPKXOkRFX9f37GBp7FOvChqNTv7w6nMMlvxsyw/fx/88YY1RAbNJ2amiUqtrn/s3AEROUTrZ9sYBlr8XWOxcKJ4N9pdSyyzMYIXeD4NaOiNy7/2WA/Gdq84y5S4L0CCQsSegmTDgf++bS87Q4VPYrQM0gOiU1ZIFbnpSN8q+ElQLsdzAxoormeWhUkpOazJ/nxEjUR0h3+FHMryDas3emWJpWn0EmBglGtYa8TidyIGE0/oL/IuqQqRrFilTMAdhQmZfQ0x+rwALQ6ICAjkInLYUnxwTg0OMfXF3cnuekclqRvV7SQhtiLy3YrjdlX9eTek0b9AfdzIWRwBF2iav0ANSsBJL5TYKrvrdOc/X383nDaQqZeJ0ADfQh0BEnmV7Q3u6eZ0+/ymqhx39bt/gVumKdo4G4ZORIkVV4pSfQdMNURKJdc5H7CzXvCsqEGnpF0zpGfDE5fDq/+TyoiH+2q7KDWlnw1AfxCmpw3HAF4O2dDvCeivd+FDLYzD3s6s7NgKDQYvAZtmlTeSlFdZAriMvYV90NadQMHCWQvRDl84oCXdeR4yamuC2ZieiWlIIMgGkowE5EdkSoscekOmJuSAphXo187P9cRRsz8J2/D3I9s0hTnsOapkgK8VRNuG63vSE7EauhC/C6nzgZdzHMjDPQ4/TfCd25u4VomdAXNED1psXvKN98M64H2RjbhSvRkvLIpnvxFmjxULxYdtzxegmFvEiEpWzxpiqRrwml8Y63M2DmCDrOGIx4TcbNXPUYq/VpOTGKETck4sQbSBRI+f1WHbQSvgxLPAfvvtqk6KjRA28H5oZo3arjuau1rTglVPw+rdeHbd1Px+WokJqH4Boc2lpVMExNDNdzsdSybA3BHIFChp7NEUuaw/E8+WorXV7fGtxtRRdy2wsp2kHrqckT2vJAACicd2kLMgJL0lwF7z65H3U0ZFkZ/R4W0tVNcKdGgjef0y11Tr0VRk3aIe/2xa4oJvx7mQaX1HcakazMU1QPRfm45foXkW6NumAxRgha92wrfqbUxtB7nLpFIiI76Z98MlvAQKS0xoKCGsmPhihyfTVDcvbVIYWcX1SH5MEAHSGVWfVljsLB+2oaqEBKraS2cvDwTcafYwDibuQBJvGBzRDHM1pVkdn0sCK4WUrOuUymRxiF+6dINiJ71RsCqhX++CnURCjEnBOEZF1w0oyMnT46CFmPo3uLdOtnL9mHaW6ILc5mU6cLEde9klS1/bqqJp2Bc6pf5ZTYYPveHwthp8UCIIIkiSF3TfdXrH4NQrsObj14lCfonxpzW4imskC3qKCsDaeBgnnOCtf3Hg1QCzaQotz+6e5yGrapHk65m0yUxq6MjEoEdzq+IZVBr0xzLraESulWqdQqpNg6X3aRhty24ehgVBgS3LDnqHt2B9R1V4xkIrULWg6VjvTbxMcAshFpzfm2jI98qFZ9vpuSsIf2GaB028wHzI1RN1SKAHl1JX1d38gIQfJqD4px9ocUy5qEbBuEJ2oEuY70AhIArgDMg74lBOC9JV6325hv2Pr8eNc0H12oS3KunjiVrc8bhhupIGBQe37Gh+0VhKXEYhSf9zXCfq8UzM28vv/8OVt9XNgAd7PAy7jdln5ub6ucRDx61dKHBDqmjIelJ/5MtwjUf7lYZl6i4us3nssK8n+agFcqo6DGoYmIskmXMwK2iNtqcl/6pqsraTEvfUK4XQ/EWnbjhAIVDwG9NqAlvuSbXRuTEHe8VuZ4VBougDNYgJAunjXU70JJKWgeEO7s/zp/Mp9L1m3Sqn5RGSz9Pe53v9b7m/+jJUrJZIBEtyFSAcfj1PYoyju7vp8aNVY1FNwtwbqWYKIX+mUuykEgyr7lWath0WdGsxdzng+FmfdmgWRy6ZYaCPwnHU1Rgc32Btqku9C93gg6+9WrcvjDZ1t9CsxHLY6uvqFwOTSJgZYy6PFi9WiGHEALMeKheXKSO8UzXIDRW41iPYE1jOm3Cff5P3lRwzkDblB2VU6h9KFX3Wzas6QJ/XQIgebSD2B4t4hcwiKoNKrYsa6RX1sPpTxPyQt0Fkgd53dGFGSTHOc5M4Zkf/HggNHNSL9bNfAsOcVkOtH3SejVs7NOTz73q6E/sZ91eOt65J0TEp69Ovz9ElONBllqbcZODBDK2hg9DQUBoRxdgFGFmjh7ZubHKzBh9YUBWvwNu1tSUgs9aw1Z+riQXJ9ws+ZrhYsm4nVGeFSKVEvC80+eiyFEffbvgvGyn00MIL0JASaHQu0nZ3rjlt81dDdYtd4LpxE9cHZ6i/IaHkUqe66uzWHm5YSi+o9QWxtBI/2gaLzJknZI6KT3inTSJZbFUUgFlVZjy+s/cG347aC8X8+PfPGsfW3i6zsOVYkjKrNE7z21xR4Qaugk84AbvilQnlyFvjh03qagMG3dKaq0K3glChCl/KOtsajMg7wbYWEBXHjqAqDvCHGPRjg9lDBHJQK8N1RBacJvokD7o+ZTrhxJNHLoB9gMW44rpMxDXaRzvodif+4FVN0h4gPKwLv7ef2U+6sRjYl8rOZnqMEKxJ55U/McC7DG4ANse8jTIQNsw+Mvox+NEj5LDSWRaSthGxWTV5mv0Y4mTGAhfQEVmKizqTJQ9yh+mGKvrIbpVLTL4k0M66dEQysoqcDsatDj8EnjEdUI14f6Qv8OpV0Cqj0B8iRSUPXY/0G+k9uSGBCb1Oa6h1OagZJxFJZy2Vevq8CBKpKDnJK7PNLDQtgqNM8xV5YaT2MxAbBPf0O04kMCWxVsOv0N83vkigC37LHsyWEZJ12m+vnikON6JfmGU9DxUWArAyt/yf3fc5pa+Hhs708PLlpKe+hdnBLX6yebEywHm5gFMC1fUfhSJva4PfjDbK/bpuYwq5EYQuv5vk1Oa9GMVMmXcblRr5APGfD1UNWugdO9ork9j9ufZp7t8bOEbvNgUgm0WHq4Noenyty7Eybb96dKhmwV5ca0pDNM+DvUf1ChWF7hzLZ+cpk3flOE77erkQcyi2XYbkfVGez1Wmr1SCwdphA97PKqL6tkyeBb4iO8jvHWEeWzMmXF8SX4/OMnD07HeV3HMc2HcJXDvPtN69MD0GFkO6XMlSXNDA4H0tgczJDVmqw86DGQEhML2824+u0/6mWQgl2rd9MkB2EwW61vlm2r/gSdeGc7OPzqK6cDujIIt+WVR23IezbevgdDsPQqN+OHHbe8kij01AAP4+AgSq3frfa4fopFXcPCDEaqGLd88D/MnIA/REIibyTubB7fJundiR2JvqNsE1kO0q0cYfRzV4mHhY3M4KWt3DVVNp1Tp/RB5t63Bvci+Q7OsuseD3VACSIObg1zDw4MHaG849szZ+YGRszbaXSIoVsTeRZ/RbEujUnkT2oxJv8zhM/gXBeeDQTAPv4/0IY5F5avemTdrhKSCSFxesKs4Dqfd7/tClEW5wRiR0hH/r3B7NcN0uajIu3ziEkmqbYXpjUsNYIbOj+Ls4SEQjDRVLwe7duLOVQSwzcFUTc+PRzR0yButi4PIjL+T5gsJtWAQ60JGoWzJWClGmQkQZWsvopTKT/GV35FIbW8jmH4Wsl5kWi6XI3WTdWhPU8XoRrVVTgidVSzEBQ0UfxndIPuuFIRiehsvvmYpz9UL48Z3XEwiejLPRrehi36nAjw7iEhonvOs1U1d1vQ7GbznwCBZJj/g+LDFJIMhlU3+P4Dc/pel5sAvtkLvKiaE0KqANeocJSPPcQYw72RBADt7DXB6cLqCUKBlCnnZWhcqm9Vib69yXo7VNaD6ipWXjTUC7TjMpqEaYb1zdmWuQwoxDFp48LvWrUI6HRUQLJ1ibXkRpuhEmupzhQ2jQUcoD8Ow+JpjnCKY/G3TGRAF4k/4ueG1qvQOaoScP3f6i8tyZCcjVlMSB+jt1rCBnKYGaeCj4hctcFDmCa8EpO//3q/D+DtxTK+4NNvwdT2JFGVqfr6rUXkjFx/R9ooY3hRzCvCU7y2mK1HtIZE1vpbcUANsCYY4ooMKAct1CmzRYIuoAHpMi/FmuCXv7HLF3rHDN8P3mF97cuXFlX2Llgr+fBZu/WfTwkCuUen0UgkUzou0lEL7OdyRNUgR8IZpsiuw4OWW1SUd5TJSZpRLb5GlB6Vcv42AKHam1E4oIqJDK3J92e+9cOS+Xf1gpQlY2gtK4XmFPZOxTWrGmwyK9nbZ3KmkMwBQiDxbqM8M0IMQ52rvYXGTLP4MABadA9K6jrRqv1eohXRXOfjkY7E2FhNEahJFvMarygFavHSq+m6nTnrxp7jTAyhE87iUwsI57Vu+ghclA3GsaVqXOcuKX4/1oohdCSkz4LmVqkneE9orsopb0tzlyrGTaDyfZ9FjTD4LS/2k2XwC5z6FN5UCkIhrrGJL5o9MaPH1j4EmUQiyBuqhehvRmDSPULf7e49rARkkc8Xk9vTmIGnj+kzzRtc1BOwPfURsODEwiznZM+uqDv5fbNgm14+D8q8RkAhKAcccpDVsz+jr26oCix8a7D4Iy1g08bkGnnEAcX3gxfqWajye3IEJ0AOcc/pxCYKmFmEwqpgXt1j/Bk1cxKOXVfJ3enR+Ej7Veal79w+oTIsIAkhvU2icV1z78Fl8sPVrs5ci3wEDSnD5D7Vlt4qcP/hmZwFNderb4rfqLjeXEXwJi0UiThsWmgXR2FY8v5OXV3qzIgt+LTU0rF9Kxwr5zg3dyKkxScUDQIoNhvxp6r2PaWkqH4Q73OXtam0TQtmUgho4JPHuhnmm+FAGkj9fJM3j5pC/QfV3FCTfXZE1uGgKhbukQHfxe77/Qz7gZnlY+bAQ5NKieiMqDMKW6DTulHfl5BDwZc2bFU5h+Pmb3wGzSVQyOa9wDoGadGpfDtxiiP8T8AtvoqqeXXL1ShZL2dKbFd1SN2waIuBsirAFxDtGAd1gjHhWF2phtF/BloapR1yVcR3Xr9UqJ6OHomHWylBjuK1VWaMdkwWpO4rkQR305ggEBS/MvdXqWAPwwrwWC8z/swoi6MhfJZVU9UipkIwVa3/u0Qy7uheVbwMsFozTMoLM/3QoOOAT9Zysh44VVOCTiUgLnhXWqiq5GzxWJ059d2kljlW94qZUlxlWTk0hJZmnYAsItSG1lVaE4LCL0qqw/vB0k4g+hMVlSybAhAdoVISd2VhXd676XHMroTbgFqh8mIGfOHbiy5ew+sDqZxdHGeqDerBSdXctcNNzAd9PpizNqqysev8WF/dKmtePeCaacZkInGa8BoeQjmErdfLxqHfsOM4xEvLnV3j6g73US+BSH7oHMtadLm6VQnPWt14ULWPocCExpz3mGd16dwWQPxd1iQbeD0zp+xh+wZ0w1DbSzWjxJTr+3tahuKZjtOkfF7xMh9NC2z5QclMi5E6quDOLLJELG4Q77The//zINXunSZFzU6WdTqKisk3V0YG5vN7wq2XOBj4Ms7//DEVzoWUL0FoKfD9T7eMBU8pmz1s+O2nkjcMnDiyWQKDZzlpwyQ5HI71qKedp4mgW29Sod5Llijc4vbC4gJaUZUEVJSiHNtW6pt3ro5PKNf5OCvNnKgLlmr5+/3DbceVSpsBklAbFT73Jm1Upod1SCapPq56zbSW2WaiCNJRuPJKk5v77dQa0FfHOD1dSicJFKH6TDizgkv0iXaicdGXLJ0q6dsQClSIDnCLuqPLTTRa0TMFVFeyefqdLomso82yWCyvpu3kc44zbYfA6rs7I9+WxfNK7yqcculJpFqTR1jwa53Ygr41rGLR3k5grRdTrc5homWjefXe1L2Q9JKPMRKUIhjznlmJflURzWIlFIDYoKXk+/XAeKJ8wTNPErkDXNZZpWU0ACXmwmN8ZPyvGLeiC9rTcLhiDoibo7YGuk9ov+FFKl6y+KXYYvoipi0da6lvkWtN1v4qAUqm2FYUiCm5LEnMdMJbKlXXc0/O6c4QZwII5FEiKSeJ4oFCR8Wvj97pCwUldJT5j2snjczKRnXqOFd2nwbAJ/mj45S4MT/wmmCYBAypnUSW0WoyTZm9oJCduWzd5WMObtTbGZ6XXcKRUBbVjq5zs0yjf8ECsAXfOIRfpt+5gv90KdHjEjzIh9CigW0D0dnRNQdxx3orUezpq71exBFk/J/64fUSHV9BX3QNXO0gxBRRKISni97vTJtkb8bUZE4qbUY3Ub5Hq4APx27RGMkXgJUhyt/n8DUUXvXKeVo2LidEPXChBLhMQiKz9hrVUmUVocNRzM7pboI5DVAVtYshl6m3MPVcG4A3/VrkEQdt+63hEwjNiqoHNkc+A+sEjP7+11i7eybG6GqegG1dGa5VcmcAV9o+G5252c13fiT96piuiYvhc+yypW46nFsDovoMBavxvWByb8u76R7d6mV+HCkA7bZ0CtViCxa6wYm6fyvZVSIq//Y9BvHJxEJUP6spL+e9yX1I9WH2TeHalo/R1q5edOWYUbqsA2m667eLbjS5Epeuwz8/vzAVFTv7imRQTxXLIpxa0at98vEKbWigTT5cNqb7ZyleLNljvigwEBpbr3y/VRuWOGLIkf+Ga6UYslmedJspH/s2noGgkM/PQa/BKvbNScoQgr3c8D80gchwwTakMFjgv2gFFqy85beSwusblmqWJht+NowQaTwIEa6+rISSpy6bGHQA0SDvVcavp83+FxaDwgXB3ag7cyJo8ulJ+9qqKFz9EDAnR4oPQuPTsgfm8VaRTAHzudLSIiPkyYCBCFl/T6w3CVB7KKEYZuwq7obPOq5SvywDCb1E2C3VkRZXZwGgoqIg8z8uw+2m73XpTOT/pNbKxnmsY8d8S6fdGuQGlT7O7tXNdBTJQgyYJkXJ1W6vJiZbYPbE7kT1xQFee4epNBokPIKzIG8k+r2Th8V7Rl/fUZ9ieqwzOQsqvYNc8tPAqvEvWhDRn/974rU2S8KpXTCNtOSdrDSL2YIwpdWLBmGrBKiinFLr5F7sj36D/AID+B5Xj8CYSA7XiJcBlIo7Ik59GU9LjlMiGl0Tnuz32sa5q7U5hxRF0D9KsKlNYCXpFWvLT2UckcQx1XkQhtw5vlhPsU+O4ZMbPf8Urq2k/A1foa8mt/NJa5jhtMYytNSspLI9hfxIxin6IKinQXTrGno3f2XPRkiLEborW4/evjlLL0ViCkcAkF7zoH/dPzQ1RZcKWLhWeRbMSikPcVMzLODQVeyDDHosK8Od/kM6E0IUsE4eTuYHYlCpT6QF9arFZFzwc0Q3TVk+hNlg42BKY2SB3keTv54c9VQ5stEl9JbbirQ5ffRdjuU1ATNer50PZK+jnaJQDBJliGcNFKpvRLdi0NL9/iLVF61QAr47ybytIij8nHKm6KTTsy+/KdaN8Hlulp03LQamvsJ3oOz0h5/psAngqgv7qAEC2LRwEJRIy811oJl5YiiWEFq/MUJ+Rc5BH7lGV1anAGR+S2At3OwubReXFujbcIsynsrq3V3y6p03mgEPih7iD6cuCpeMG/0M2xOCjCLwkF42TaszJ2GRLdT5bul4Mpbsa0IDMI1FNrQ/EVl++QRBaisGHAPsjyIN88fvDQEnJtzqHloNwIpi2PKl6N01Ps2eWy4d1rwNQfxOZyh5DObHgBM0V+k/IBtnvz3rqPrzjZWrxCrS5VCFrMLuwqwZHOH0fpIyubCING+oe+woh3rtUhHsqujMp6uGDjwlsH0Ofl6hLHK9+lphTg05o9t+uzpCaPanpjBpPiTpOjjv94dtzuKPqe09CpSfEz/gY5RxT5IMloUFkw9xgD7AK6C/aqrbbBVGSsg1Kq72ISwASqVxuZ/fFiRhDcDSQmhU+ANEYOSf/p++rsnshhyOKTHJLKDTAFtFefBLQOhHw6YDDivDZ+v5pjgBCIj36ULMX4zeFfKKOXbhCELEw5RRprHowcuIEOq4ROCLkRAen3eGDA5uKSvVqgaZLBY0yY5V/z34ZzIdEflaxHVU1aa2zZk1g/JOYy/0r/0L5CUsIcAQK20JhK/TuHG/Z+By1Sl35sGDsaBlzhRmPxQsWSQNKDxjGvIk0XeDh7DFg8tPOE3ptrxdpbvUq2sfr88hEiOPZSQoD8GuvSQ7DbPdR/tj73MvlgIRf9J/Z4mx+Lt8tztZgjQP1TFb5ac47LhQblUxwAE7s3Vcb2FxtCz66K674M+hO0t6S9LNx4St4wlOxxeoQykI37qyW51eLGuz+hCRYX3MNqdqUWTNJ0GUHT6WZGrDYtmi9mSpVgEmbIStg0J4LsA3NrpwlxVqZLZeKWp0rpqx4bG5R8R6I4Q7B5RiXJTN00AybT5vh4y9cDYnNeoc73ys53hPH4xxh/CDHlhR4AFP3no2usdUYeg3hohu6IWOWqiB/GBUbctcS+9LEkzyfp1lrvNWJO4u6chp3/bZG3e6RWJy/sDpxvzVTrchvTcxIdTrTJeOwYEFOSyZGjZXFjVOzutk/aY9ycbufJ17ATyju+gDWirphkwudVD6FShEQdxUUGn6IPRzLEuayK9p+R/tkiQz1VXYXNXvBBNNpcnPTI0GOAn3Dk1wvgCWmku9oIVqvb12gjIC4LwqX5a4ULJBuK0rmDWI7Dc4RjjYebZElX4nqDPNIgJrLyrWclQpJHu4Q8lb46eKWlmjxwR3MD4e+hHdfP2ofRK61B8RrYBOwCVm8JqemDiCfM4jAuU5cuSmy8WYRWjEJOMjdyTzDiwmPEF3RuKmkwDQRy6JOXm27aQSnQdRITdUi2qSA/lw7BOepzvq2hQ9wGyIXnOee/LnEYTtwbmxNUzXPPt+ki/b4C9p0vKH8mLPrsYB0FSOeFnzSuRnVzs4yXUFVJ+/56miz6b5nF5HAJsnFtt96x2s6xsRjmsKfRUSHVCyVLaxB/CrVzzZAnwvfO6/4VdumAEtIs//DTHgcr55Re2VzoSmQNoqyPsl1AW+RC7GtQmjrMRyf0lTMx4UW8HApkSRL1yyURF+b0gawkXp29VDYpE6OLXzMfNwlD4lSJKuzWfld1piiYVQrL4U7lvAd0jsbSsCfYXZwOzNJq8bjRYLhtYfjS9pX91gGTpAeD9dY0LksejS8Np/dpQ0Ql2BlrVMr8w9WPQ1rKaYfb9AqAlivo6QHsksYRkCDnI3QKxt0U2pZpziTrq4BqIQtbHK4tKhfmqgHuv8X467iD92TbLtm3aD6ntkjqJ0rbaKOPW13G+0pE+WArdWdbbOFmGNUqxdX/RN58Sh88BIGrJM+u33f8J/jRJ4lh47NSQE1vathcpItiPYDKqv3Y/YHGHptWQabQA4dDkfLqbKKcTOGIcpwimD/lLZq9WsiYd0Qnl6ictahNV0jiFzkr8R705EIvb+lW5EQveWQIDr2nrZdbWTbX0l/CE7iWpOvAFBynfmVsFAbYlxi4ezbCmc+Og1H04iDXPnz+61l7sBQ8ibT0WWjYQXhG1nexvtLw2+bum/aMjyZKmzEVtzGbXjJ6DEm6cQ2RkKleyabu96MHD3US+27D23EJhlnbaElIpswYacH9KHWOsbUAw3MO4qDAdQ18V3Ptsdx1wPY/7GTYDU3CfGk68E63OJ1DW+uhmaSa0Ib2/+o5MtFBPdAvX64G8ZKVSyi3vxkrkaIS5ssVbk7Ci+E15/mx8Ruj+a10h94N44VhSvDB8nZXU7ydWNDO4tSJClZ+YXbORpPApPO+cce/5i69b5+ufDwjvp1QGOBvIXUPp3VFv2YFoijzWKMdFj83Ju/+IxPpBKnQELAoTOmEk6nyijQpzuX6R7F49ZEbF4A5cpX/oi73IPShqb9R7IJPQXHuoJKap06sVOaWp+m7j2X5PX1FXpGcWXECvFWuto7ElQMdclZZx2yfKm8lgVv16cCdDJR1tZpfHyKdtfYVtE0ud3RkGUJf2h6F8+F/6IFiXEy17mzdBWBDu+tIGEHxG6vVxJjcuO3LXd1omRQYulQRZf516ynNYo12rem43ZTQ+W9zN19hi5DJLXxAQBdaQtKZ9iBrkN3jSviBsmGM8VBapuAVwxlgcu6EsN+5FO92QQSyZqNwIwy3Ep+62qWVHv9tnDc0Gd9zKARQ8x6wwnHw/tXucb2oxzxJexiPCy6DrVtqtot56jT0UDhX97qyVx/XnE+yh9VKwHaEC/hLmlhelty1g9M5SYA3cH+cCQhK061udIX18RUq2AsvEbClbVWCuDoh/O+IlBaRx/tqD61oJS2nRUoPlK/Zo+FTGmbxDa0N/3UevfSBS1c4TjMu/SE4t2tH9GLadVTYxblQ8MIso8gCOKXZofTtF/8pm843fuKoITpFFFS/Cdv2HOVWUvdUuX3WdFn6es2N/71inEx4JsGmbVaKyj9Sa+66dSMhOJTfSafqq/xHsR71gaoz5y/Khj6pJd8ELiKfkuUsmBGtDDkso/i3jXu2VVsuXeH4pJXJr/1Mb/ThukZeHH8+AACZ2ZkGVFJcMfq4a/n6uxRgHgx/HgtCBNO2aTfdMd8LI/R9xZNlhY+iyld52za6RXQ89O/ZxnFKyrJ5LkOBurXW4kiQsM1aN1F/7NbP/iP9fJ68+Ox9NQwESQCGYIU8gR4/V3vEutfv+DtwIvFsTyEZ1YEZSEVJa8T0mvCTB4zcHkfsIJXiIajavsPBTtndV+oUNb8e5OCtpCU7iOHniOQcjgtvNokCpYaWqDhi5k5+BaR7+Zt5XwFMQC0DKkYgnGe3ALpe3ruQS0U/edZCJi65ZHJUHIPYQYSqYECeVWM4Iml+U6Y9qtQQT1tpjMiPeMr0QIgfGopMoNj7n4Ht1L1OVRzvOTsbBHcQR5SepgSv2UnE6DqENI6wuoPQjk6FdVw3S/X6MndEf6c1eOyNXSsPl827MVBmUUefE6dp5cVQaMqmXJT1fAdKbLsaUov1gwjPTLbVAnLe793bGmrBwk74C1e8qbOV8NpHcAbjKjj7yygs/bAHdl2bP23EqMkt7s4fIw35n6LfCSplmzT7h6SidWL03qd9QijOOuxf7djg2ubmJ4ZW3ghaK2RQWVF7sVI+mZ8TPGRTbWLuOlESJEMztYzkejmEWcrT8Dozl+Dz2z/ZvBPMLWsMzN5h/AxcKMqKQksY7nEnOa04ItLiOWfXHeOOBKsrjOCsPvSIYyz6dOcVi0TaguU6p4uDAieUPwsNUoPgbLkN9OKwRU5bIYAyaTN2YXwUMCYIjrrg7S8jRONmQpGgSrEm1y5kFvwRdWMM2gOpZYIxsT8n69OTdO5HrI+ByKOQi0IYHNLNncbYP9b6yrXid63TrrbXFfpOFC29Ehe2CXZV0foOjxr6YPIIG/12nVh+FQ0AyKQc3iZJSyQ4KE/MsykeytkoqFjDFcB+RHdqkX2dsV2Bd5t6WAfRweH99G2XVJu4PcwxfbnR25G/88UiKO328gvYPPrjAi4/pfuQUDEDRrshA6n21zyypAyn/C1Dj1TUo++1O7W7pF0QfH3kDB8aEO0ApkvgCyeZ1Xx7GBqQZw85rrrrIC/JXFflis7pSK6WekH2XbSTdcG3OPwhcSuii6mh9nxmAtct2uZ3viOiNY84pXcEdi09DRn51ZUM9rS50QH8/BgejmHPuzmBkeH7x4UTMfcTCi6UUKquFF3h7swcReyKNdPlmNkSYyC+8MeXJ+gk3PhyQ3v/9Xv4j/IkV0Aj9VHPPsLEC05px7YNNlYuAQKFoOriQX6AuVHzzKNmdRSPG1Jp/fEK9f5XB7Wu5QfFbGliDJfMNYUTjFud5hDA/9Y634p6XPlDkPACuiRTKqH7ejwtKXouJMZrFmZRof+45Z5B2S9LAYchx8uCHTY7UCNGxf08P2LygnDw5hwo2TR5FcG6SD8kKAV49ha36m9NzHhSioP3jJXuSP6AdOsIVQGZM44JyaaqOz6r+UvxtV41mvNleEO9Wje4AFR2bZs7JWBY0VAw6VWqkw+nAl0ytBLm24mnAjXkK/fCqNo19mRRSATkoR6lYFb/MTYWi1CiQqhBbfmYe0RN+Wp2fJ19nIt9H7qO8c68c8126CmF1AngoMF+WhxO1rrTfFYsG817/wKVjwv6PClpexEa8E/z6qlS/4aO9o2Bxuj8e7FpcHdY3Cc+2/0QM8XWsKSEoakh+7yHF9x2UH/r7p7VrIF614enKnFdArMAwMiNM0Ku8SfoMpT2FXAuvGWzduFvmhZaHloRyoSnUN3rVauPE5qhEn33+RHbjnAA4Lq5ftXRJ7iwnEdI6tEn3/1NtlFmVBUm/befbWEnBHPb5G2HRi8nH0dLMWqBwOJNJ00KrX0wOj6gqHN0+hIy+1ZD4VxjftguK8FqW5dAzwZModooKV3D4XUdDzO6bt4ypLB4fsrJrO4VYo8K+YbYwPyx5aVovT4JT8fxD896iOVb93PEPC6qn86mGc1upTRkrEvgn3Jnk2D7KLrvVLG1nKEZvfNu7RamvLi+HFnZbO3qGau9ou7RFH1PhCpSfb4Xm9tGx7N/kxwLZZY5mLf4yDe9Unn+XyKh1nzKQfUnIPdq1pBDxZ1fn7c7deKYRUCxWRKTJUAQ3o8f/+tDclVgiLW8z+QiHkHrIXlBUHfJvHQtEwZLlV8RJ2CVlPllDVN2GJmFokwXATim3LCNt+3o9fTxrc24IToZTz5Qhog85aHoaedY7Vfj581GeO0g4GmOotPh9oPxNM+gbW+kyi96RSmBOEZpQJZTmOnhdqdrJ8uUgC5jE7pGOD2mmQ7kbJRmf2lsW8hJTtnUJc5vI8MZdydbYBL6lRDkaAiwP1ODGrf/eMNcbZz1efWAD7TgD92zi8GYNh2u47u01Br5Qp+RWUkEiDVX8NyOD3nOPq16DGk6pf0/oW/RIOBni/LnFzJOaS41BAvp4P3LY2nA3ky1n5gSQ84EinW8nY0YD8SxjNcUMuMdrrR6Yb1WDtU4Lh1IK4I+KhyLVe1SULB7mUFiPtXVuCaFmk8+85pNbPeISLRAnvUVVSUQuX1bm5EReyyd0RE77NMBeWZys/L7I8RItJycSPHL7lHS3PNytZs54q5czjlgkb5Rbgva2uIy4pb7klJ8hycI9FDolfou1IoPDFva0ALidtMEoZHnY1DkfIX62hBBgJY4uHL8OuOemFkx2UKBN0kSfucCGnO+clyHLoo1Eb5Jg0EV+++1pzUJVuoMa7ENqUP1RUMySIDxGH06uJJqZ3Lf8kJ/7kNbc5wV9M3en+njgonedBOAvrfCYawiyo54zHo+WF/qb7I5Y0eG/d9Gn8NR6Zkb1zEcBTTgy70RV2Ow5yaaWHMhuI0hZxStzLOcm9WbCHcVUUiLsoAAkFJsnG3KdiYIKUWihlcIkaPgf583fZb7x6Juzqd0V6g0mELNbz+3APbq5p5CBU9dOh24JXupdsD/0E1cb+H4+YKm/t5MEs8jMvlU0p3hx9KrarQavKbeYS7+ZpI3DwCAmAHdhsDmwGFxqOmdcwIw7FWdjGK+SlOht/f7aU4xhVvY5gWq1iH7/yr21wNCf3FaWd9K21wmyxrf2frHlTiDpuCVTLex4jf3HA9id0lCxiaiZ77DEvRvq44Ku43gewV2YQLHnDxIBdZ7fA7XBoC4ayNhFHuEZN2WDFz0YsKDWkR/OHQP4qmW7Xu9+AwFzzph3c0FStQ4b+EeGvWu9UT53EWgt5CT7vShwTBSlD4cBOk0ffm9lmVcF+TKGe+F9NeSB16cvlHjnprMjValijinp0RBCmb40oYGy6yu3N5hceEK02Ovq2hFeBMncz4I1x0iHJFix/5Qi0RNPBVorBEujpteR4hLGJzLJBrw+Pg8eUsL13TxSN2w2OJhXpH/4F52o2N6iLggt7PdwlvTWq8NcWyO4HLtf3NvwVpxVPJpZpRtrt6xWmGThXhLXzPmT5e2J2p4WPKPv6QvEiHNU6fP+XWLq74/1XHpwaLnlVnOZIuJ95EI6iHCAPobyncMAxFNK/fMbHme5yVXatdCOlNIoi8HQmhvGD5hrlHxGyl50iA8Ds5Hy0Uh+cuqD25E+YjS67uMmHVcN8ntyqt3lClos8ZOMlTA0dB0syB8GzXOfatRksYQhZUP6YCRyVPLqDF/7kZf55YoAtIJr9pmxrbAtWLcQy/PoGwN+RgU6K6FZcvhsV9TGg7y8OXhIaGCX/gRaXnI2qpJ72rL+jHn/2TqyQnskEgFE2zgbUUIWItv/lLe+T2pMCCLTVLkr3igZCvf2pRXj91cXpQQKHnuWD60/iH52U1R8eNl4yNmR7OzdgNkqPAgWQe4luw/gqmH+oXybQgcXVU45XkQ3WlGP1Y2i2PM7wUujlHdrIt2OqJ3tkG8jig4hW/JCilc5dO2luRBLr7ul3Okn45cmewOw32Cp6hjUCLlonGfZA6szMMpKm3HlMNOZZzWIGH9U0QOwW+arJwYpYWP4Ou6S0S5+X0rVcqxfIgZqsuAAz7EKeZTxhLM2TJSXT4SrrflRZpcc42xBN90bRtmqn9Gq2N/+bTLiK/zyKAX8uLEcQf+92QUXub/qBExt4m8R+cnHDqjlGEuDejPt+64+BeygkY9nIfO4o8y2KKi80kVtFVd20so5gSddSp3lr3lLflkCDKHyxu2rr8dOvVKc4jOMefSSnDjLjb/bDAc6UTdIUktfl+ZdGxQBcDBpEZOIdf2IPEoPFfaH3FXc0GLPBU61g+5pehZAS+6pd/AS6NUBivkogZAcRWPBp1KlgrxvQW3qrQZNnsFgxmmFUz4e3iv3+bT05AVCxQq0b6m/Cvn+hszN/ZQkhDjrTfXfl2fEDK5KNpIjW8J3RfZYIc8jXycJMl5VPT6xQH53a2SBf9PUw/dI7LqjC7gjhLZ2SJlKButszJd03LxIEn5C/v2G+tqDJD2qNe/YU2/dlTkjpV5BqS8L76oEnebn8+HXiBGjlmzoXmjFMMmy/Q0w57pH5/q27aangvRhYjEMUilFoqIUFGg+1y5ipQgPm6amAl7X/TvE1CAkzzK8I5zIVw+xUb533EAuhRbefgKrzJimXHdLq9ofF3zV9iXQdwxS6PrQnz6QE38DOMnfIkDPr7UfjYAgrLRDU6djlbGC5HIAxpQXZahIgwh+b/b5eMugfUtfi7P4kY3ZPOOTuIc9kC442W8jHAiwHEC1EkLrhD4vvyvGldcSRoFKUzZ57hLbbimWc7k0eBFVSoVRcfJyZqBOjJGfeXbqmqTujvf5Pf/iddkGXt0YMca2axUvUM2D4CKHENOMXJ3LX4AHgVjM4Wxj66YGF9adxb/SqRe2YkzYuoNdvxBdDbTfpp/+7LwWBfcoU/r4b/2lQcuJ5bYOr3UTMiHSVoL1LHzFe6KdkIiN7TSiAfP/MPGk82HKGyPfieglE+XdnjwgJ2spZzKFPTqTe7C7HE2709YMAHH08c4CwWcqVDzQ1XRlRRW/zhtBoiKk0y4uSGAgWamjUqJW7D22cZTc+rZPHYNf9KHv/A3fqmA0VwMT+uOTsuqpSRhJAD3qG1hCvZ0z4eA6RWhiwWLgnX0ZfffljJ/quiJPVLw+zFFQue/jrPsKMspY0FU2UacMiYJRB0UHtm0Rqr1eNBKKobE4CocA96dzshvmcbATldLlRPFEhC+QZQVBzPd7o2iovZc2QfsdI847y7HeT64wfSGVyXTFnq51by3yodJDOihQEocqPxjzr/qpmSQHCkssfz0Sjsn+NMhXmmI1fsEcLPJLmUGt4wkF5+6mTqTTaWzF/VkTDOd9ujmWomEeqIBzXZq7vSW0FZ/4JJU/MqH/gfSUYK43SthZ5tjVI7tFhvABPaM/zhyPoyOmuzaLUKcrvuBqK3R6TtLDgagiXjFgbDu7Msq+5L3I0maN08ydcgaggB7XvmGmgd9QU9Shqw5R3MyY1RqvjRTqp6ciTGwpBdzr/YvCwnxa5kROVeaX5cgvfUkhZ3CFzzsZ7A/14GeicSJAy7GrlnH7ZbsmVnyAyr0tVRbbzqNq5I5W3C/8NBAyHt265QhX+d4pVvOYxJ6KpIMu1+hkNFIsxoHVAe0JkZO+zvW+rGhLUtJDAtx3lK6g+DJCXV/+JjgKYrGqtfzQZNQwZ4Bq/vxRX9cbCNVIZp62RHd9qASIrItp6iSRuwLgrU/wKT3eJxwtX5Cdf5tDDfusdQWzp4MBJ1V2rOgedmJyjXVXNGjKDKfF3c3GJ7Jxsf9ikehITOEHoHa2RKUt4Pz/yAAuS+Gol09GkUAi33bCkSt0jEY6/8cflOK+yniR6FwAEgXDZ7M4j8WXu1JvO6GRF+s78fByFzfUHDPWcgpMNXEbx0NqCne0NpsxTSutHE7sBf3EPJe0OKYaCOhPmda4pwbDI0XTiG2Mk9OCEcHUNG5KSFPQDfXQXc8OBZCK4m05YIEUgztj29LDvqyOBjpu2nV6A6eulLXKgYeLc09RmpQrq5kfT52IsxwWM8ba3TRVqTc7Va/7VGJltNSmqNqFsmUZFqKaF3qMuSmdBSLoLToiecsreaEsv7cHNqa+bhY2vFWMzbLjaaZeHovBrFjK/xw4yGHJfxFtRlfP6hcVnhNizbNkj3MFMWFrzJtqj5GTISvF10q3K5Ru8zp/bTsF58gZmDhciXCs4PgGCL1upn0V+fzPunZ8ietIXKHFDb7IHp2iHO1vsUNvGPa5Tv874h5jFhoaSxuLE7wUlJf7Pf7CuKnAyHyE0kbcfUNRvYrn4msdlNoIVssrNPm5XRwbszuKl2LpIE/DhFSMshXRKhLTPOH4LIvcSAK2Dx+9Zi4Mz90tAmB/BIjAXamAlOrjffXxY4RI/D3b2YrmUHxwyLvpVj1Y9jMlN0vTzXxVnof4MnhaMlW9m2m/iyWkAIJydlk9AFcFcpAL0ZNAQL/1yO0Adj6Gxvaqe+NhcOfPrWTkFFidkmMwe4uwg+suEujnnEW56oBA6f9APLIUriQbjk3uuiewBrZe3ftrezsNBUQpOYIblsgIYlzuBJtfeoLVtQK3Z1pxFYU3cIGVSA5pHPqEyTHF9gZd1ohQYNw0ySKdFN8zUQROyQ7B5RhwIDYOU7ZAD8eB5/TMNK/UqbvngSsIo87rb3g7TuOoTIgG4tbC0gZofDcYdzIjEo/3Aq25C+vbZ1x8HLkwXCu9/vCAkJOGnbHYuUv1ZGPDf3TSStQ9qm3hcrtIavln58B33ARuyQ613ecim7+nkXc6+SCT9nite7fxLGEznj4Vs/arkZteAyuB7Vyn7aAdb3PVax4xK7V9T8CTIpRI2KN9fSj4fAyqigkTubp64ckQx5awAvU1odeG5SZqWNqg0tBF6H17TE/Bbg5AnIqubj0yAblh4i2f783xTRkfQru+F8UCWeMLQ3E9FuHfZibxdGLu4V5ydcYuvfSn5WMRm/IoD9Ol7ni4pa0BK/M3wAdZHbnJkBuyoMl+ofhDVUn22b0c8ItrO+d2fcemKkJDlEpjjC6zitG7XIUwyhEfwPZ7n0h7oAEzP0+9Ox1pFjDmEGYdr0YBTL5rj4Vq9g7SZVOkyLYNPYYItXsJOAcJ5xYGaX2dN0a8UdxMb5Fk7vVUh+4svVBKbCMcHivRvSWOLog/IOtl/NULd+NWpbPLUNgc9GHfxKK1aN3LJoy0HfRdOuJoaZ83J8jSNUxNQo3GeiSK+xG80jMvqLnZC9UD6T/yfqY4Ad6aDjb32t10n8jq3l/qUG+Wo9bmRSIHCWp+4MpbtvpoTM52n9nPFhfcIYhHcFmbypqXvGKQpIq9wFIcx9DRWYwQDsFKlB0vSQ7xam03bBu+X3R1nqdHNr+9laUL4Qq1jbCMS0aSjqhF/t00RBc+JZE7XEAcXUaSv1It8hB73LODXcZOpmdTmUllxicI0CUWx7tgF1BrVMp25xEALQuFvnthI/NTZVn8j+RIEgmZXspMeDd/qWCrRCu4SM9F/XvEcbMd5Ksiapq/DRolVdha6NtvyP4gM6cFQiozhhtRcp3c6X56/hExOjMlPdyaYc9O/fiPLTJWQc+n1fjWrdqDOQ+B1XYLk7r95itWkYHa2LAMegO4SkGe5WntKS0E1v736EbFuLS4rBH6pkC04XKW4b5WShdroToOV0iHtLf+CT6u4O0o0TU9xkdlj2TC/vQFMh0d1hhS/zODWyj4nRjO7IKLI6i/cbJAqX6v8Xg7C9yPCJxIyLwCKVdo2X+5PgpTq150SmfT0CfWsFBH1DSEWlJs/lSFqJF77TeC64Y3z3sRH94r5JWfwGYA/bBJGOZhuoNzYvUkdpSWcJmi6KYEH91iF7AC+YuinKK0/uRorYY8cby1BzXriNDoH9vOUpVIvfTsoTuJZOD49tTbZAyz06cCilbT7zRVZ7n6zxiVy1PDDXjJclGY0+i51GiXY8aKGVwJ0vh9u7mWZQ9/+M1OhPi9whKwA8WKrZqDXHJaA6EaPxl0fyrOupzU5kKA8DkBfPcRlM6zXSEJDLBGEIljF+D4CE6vqy7x92r+Brsrd8RC/cCWAAFZtmvPey7Qv+C2NlqdumB3zJ/JJ7z/nnAjLiuMRLP77iJLKVyUKkLXadEoJEFwKtKPNeiP222GjILENGCFmnbJ684GUyevefvQqkR0wRY07ARJYTIGApj2xSA9DfAXUa5l2kAx9469WWKPDJ2CnqYPTWN21/DhknI2Ea768FiAdfs0nOWgZ59+1aWDiCMfk2pkBR9CCS+n9GdvvNe6PGg9SbdNLP7oy5GmCNDdoE2yI2f8z7fagX1fCmq0xyoBczMf7DJLdmQ60Ajr/f6iPTYBx59inKJYgBu2nvVUfMpbrDg6PF8Kbjf3gFXFrsAuFI5VHJpoM0C9MSGuE9bm/Pp8CZgsTfPCV+WKgYr5twNyqDdv29X277/UMxN1y/JKvW6jjGgil3Dj0Eh1DDUM/u46d8nSoSXWDa1AXuvVLcX+dAQsbhEwp4+tWg1jtJ2GeA81C3/QIyb3nVX3OrsPJP7rNCiEAcfK/Ha6rIgd6T8OO58yBivESS4XVI+6IJ29YaVcOcqJSXnYWV/6aaOO3JBjSOxVePOMk34NwNulDHD2/DJVxLZbGuFhtQqgMBkJsINmuUACcgpkZb1vjin6YwkKPvyihVfCGj7bvkoyLtDHXT7tVoacd9smfUTTaozTSBbbYKnfVKGVVtnpEUaYs7Kz7c8mkn9d57Dfey1eMLXwiHmXU67USqhNUx9Kgj4CZZq/xTgJ8wOpaADQPI8EdXsuNAfkQdUtKoEaF8a0hQfam7azg20F4PuvcYN6L8eGY+CYVmT0WVjprHgycDe9OiXonARLacOfhKvHpuntL3n0U9jERXQbzqTbzhviBzuXwNE25GN9xJg+cTOPUYQL5W7/MQk1Ol2qW/vp3/WjzoSF5JmbYvsqFvwEGPf8gwVV6GPFbwRQVYSTsmC0i6bXL7FGElzC4WQzKeREm/NC5vnaAyNFUNuQGi1wO6NE9bBlY42cGnMNcQ+Ohij277cYnrRZhvi1fGrTcBm8zwB3Gqo429WKk8R1iXNU6EHj/GBRbRXRcpFN4ATdxBBMtNcTfTNANNJtyADcc6zfqi9LZ+aVsgKBj2KwNiAuCrwOSEbEFXAdFwMA/vNSnYiq7/DTS9LnfZrweC1Fez3reNEzZ+sNr4jjNxEDJS+9YBoc9QD3OoWiQGQ4RARvZvWSXPf+BxVLZ5GcwBni2Zw7h9NEr6G4UOyNwQTVwcaUoyGI7OYE4t2wJ8cfkIGzOgXjOnSOstZG7J3QBgWusskop4wNeiJwCCpefhHfqiv/es7lSompNSlwN1KxQ5jRQYmFmCsoTb6MlUIRMsKu5EAqKr//FuLoT97roQt09+Dyc1lVaxIsayv8MoheelMk4S4DWIf93+rRksGaOela6xQBq8tQxSkPRazDUHkSwj0I5d/lSipEAMbfDW9ukQflacwV9rr23H2W+a0XZLkk9kVL4kx6mwZSsbOGCo9A0toCT9Uh+bRPcPG9+g+Hv69kqxjMf18+myFzxBUknvHbQZRfTyr44jS+6OoNcNtJ8hgpx0JJWchJOhGospUmVA3agHYjKwj39BnLkX68sYtImxsvUzzb6p1zHuFAOT5bI3Ftmioq2WLjOnm3FvJl7BqAAmTR9O1q2P+IKFfZzQ35HQD6XTPTgmJdcQLL6NWT5+3ZlWnzumVMjeLcruVqzYTMqujCb+pumODBWHjG+TsiF+/ur2o2QZUms/zBEmUPVo9renl02wd5UelxpTr4AAWKGZfD36i/nkQfop2Hfu+U2BTUv4+L/8/Pzc4DixGlVhFP2WCvHv597dR3Sz/BBn8z3yYZESKbhW1ctcafNvJFLRityM75ggJeWt9yJ7fPazGxNrVE0/ieKLRMbrrDqR/2uhJHdy7EY14ecmamrQRbEn/TC64kuWmK6soUrGTJRpqfRuI4jjAGWL+/XVK5iKaeXvImNik9+9lNaeji9fgCFRp+9USHavS9V8/qf0mckcdPYC2GX/zXVWslt1IvbSZ1fAIB5mfY0fp6unwgEyELYPlFDJbL4DKMvp5gSN6UxuZAumYY2rcKExQQgP/fQUTuTmHopNKmjlvPB2MCPjAS0/Jl50o+WG4Yn4VZBLtIwFIZpN1kIT6WDcom14RjYUkubX3jOfVAtmrD6f4AoJf6Bo7cebi41tvQCwFzVTU0kjJdODA4auk/GlkoQF/F12DHmqlBCrImwLJQb3PNdf44OEDCtZTFuWiu1ujRazsZtWslrTZ55NIkWkFYGZRNurFP1g7YvApfkMgeRZhNjZ37E7/Txvo4ezRC/uUS7YYIQAMrkZLURbzWOzxWz1UlxXf2NUN46Ge/TY+241O+Z0ag4NkTv3CjqjIX4XeHcMXqI0+OobqbYmYp1FnxiumInh1kQqB7XuQSFaATBTEy+gjxW7RsKlE77J2R+uvfc8E4g8SVB879SmHXI2CkqNb1svT8u++1RJYap/PYT+BSeviKskYeASP6djqrWKnEDN+hso36Dk4gAUjJMTmWQlXjVQxbXlSEzsq5UanKQf6mQEeBjZ0cFGkJzZzgctgShOVjsQpDghgLS87HnKjO0nMyag+uK3xvOS6cO8niQ53Xr030Ar3MtSVSTNnr23Lh14PGjZFUffcvQemuGTdYRtwG6uEN41foF1c0K0zTXKQnMjSCckUVxnxGP2rjhAMrYcaf47E/nocVP4dDmORbByPExQbitngaTfZMwrb0IwSPfZzL5Z2qgizQWed4P9P3yssEEgOqCVetaPDKdVy2l8zLGd3Xl37515I6vJwSYXv1qpKU8cEP754ZBnUrtxOEOYVNrCrmTK4tgOpWPqIh9/VUASILAVgEXEGW5VvU0oi+guQxETGtkbRupnuOhpdCnjLDFC6BV88Vkp9pj7tMt+uwI17IRoZ0B3nETabirs+XyWfD7r22a2H6Ev1nJcjqU078lSZ2KPdNWYZKhSXXhG7gvJiUrLCIgWKlZQJy6CKfw+u63Rf38YDWCKEk4Hej6vAJti6gC+OqN7etVVGtFlQkIeiw2qU7bxTxtQHa2EJBV+kXXiUe5upgPhcsFh4C9CwAhpvFJzYhqYqYbhuRlhKLNwuhM/tBe4uEATvONrgW2eKLNDT8/86X/8PpJ6Bwn5FT+7rvb3n3SBj3J3j44DAJVsMNidRUqIJ/zbPR7OIc61pdW4Fjns3AZrcQqIRYQYnoLuWS6qrPl06yKXYBNrP5D1ah2HAkJi3jnvhsVUYZUAMW6eyujuIpZpgQx/UVsEqgh3HUEyGwIOcxe7f3Ils8VnQsvem/rfMPjx3HtJwbFa8qs+/83TcPSkdZnvF9mRofdxXTEKDnbbvSrgtV8fKAsHKrHLaUsjcZbrKlP863zRDO98o9VEeE0RSp5pdFHgXt/WNa3WTZt+XAK9w+DWa9jX984AZSMw6lAboaFhb+EpUdCSkEuGiqkMQK+uxY0PUNyNGsZv6pdL7OI6cPpTM75OZDqBJfaCwJ92ffRFNY9QFyiovtvCTPSKCezFOwhUmAdmy3kcm23lSou/fUTyzyP35gDJT5DyjcxK6guhdAe/hqeLnMGXYNok7Z1JhSdrd56cOvafvwLXhkra3mnFp5YGOj3eVryPq/nOJHvXF8MRUQFFgDyzDSkH9N7DClXe8cByySseP+TpOPX4NXLW5HPFN9iSvVV00cpqrHGhi3hRXno++Eo1cUp/+ADMwi6EI329bqnqpRYENKNv2Y/VQhtts5yIfiIOOOfpS7cqskZjDtgsq7JN6643qpcj+iPVV4YWTMCTQCd8pduXwuISquOeZ8EmQBBx6FdZM6KoS2Y+dAAXsvFeq2hQr6H5OHzPptcY8QjMaaQyeX+d4z//fPlEfNNxJzkFyED65AQ2KxU/uGUHtkbbqu3hS15Uix0pje/he4jkqCD1IWMy8cJc31hB6xbNP/mHQNn9hspxwsHlisrZY4rUVDONFmyFHAL2npNUccgK675T3yJWF8iEmIUcD7AcZpLL9NNn1F1s0BFR9bMfpCYndfezwgb+E79LCwkVCdJMm/F+m/ybpM4KbA4tGfgwfaEH56TlvlFoFO7Xl8gw9KV37vjvhSWqMpvXSDYekat2Ikpok3FbPM1tYtlkWgopcIyAVmVjnbmqGY33emdzhwgpxY9fmo+syCvnVmnmbHUgJz88EuLPaRvmzuvrY1UAvsYXImDBiOKglEA00KwpM/RalIuFzsjtlqy8ul+kjswbN7s1pHNTw79xNBD6Kl1dKOdNAij3mFWjjul1r95cuBjYUkaMWLJW6zzoZMVXNQo7MaiKXBUAGTHMtZYa9UTuNxq5AfNG2ia8tUsh+pqx+nBCSRTKw3zHxMuWm1xKbXVqWXyw+0hUCe8zvMCHw0LHLOmr1sfv+AMz6XZ2QD0tn1jLfnvzfMfyTsGOl857VX/MQvzRuVkB7+tMj2RbOptYi3dw1dpohVwiJxaddLxvyXWqFW31NCuU6xSsYSpskuk1doI7mxJvvW/c+ItO78vIsI3GB2cPDjqTGn8Kgv/Lo57VzmojGxTtkIWg2N0k27Kemg4s+rIpo/tqHukjcI3BKB2LEZhMIPSi6/XeBear91XjFYMEEZh0mcF92PDCWGvU0BGDFdXw9VHddjzU7UQjgkoJmjPcsmy6mVEGAcva4A7kG/syZRQlVRs9vgQSujegc7h9xf3F4/QJnzqFUWBEmmFRtuKMLLE4Q2gQsDvlEiYnjqbHDKkZQyfdGv/haL2U4Ny9cvIxMgRrzgF2qQuqq08OeAKQrBvfzBELSkxdHmV8viPlL60IRbEwCC/GaECOlYFfkD96j8s7IT1UsnW4p17JA623FbpZwc1pBULj8KnpKbm9YwodPjN2ykeN12SNmM4D4r5p/t05iEoYWpqvy7BlvTj8dqGJSLHcGTSxGmfI4f8X4yv83jjFydZnMX1LW9a0nMZmYZuJluzF9fv9iETaxrReQtEnzwZTCkF0cyDVt/lbyoOgAq+feOhanfxuF4aOG33KbMMogTPRe8Fj7V/Ri+Rvk1UKwXbNNg6l3T26DSk/smWaCdQc7CyBXjqHALbrXiLhajpBYncOWrgOuxCZLL2JpnRRf4IgdKOj6IqUJRiVVOPJTyMOJJGW+Kzacr7zKLLO61r8a9G1DFyTiig8V8U1Y92YaVNcj6NUY2dhXTZ1j0G+ySuWaGATtqZjKyIV1gQ50KAf4z9u8a7AfQmRVqlPtxNfD8+/3G5BlCp3GuWciCWIZ5qW1gJgoiDE04VQrZhYBEA6Iu1CumzHsK/yAKpug0bm/Y4b7mSx216NNN5+wwvhLnjnZOxaHg1XbX/AceWOac+S/jSpMDaCfM7+H8v57rTusenhL+M4MHXGPxbj4ie/kBp1bNJD1uG0RLO3Ol4DR2VKom7smfi/X5Z/eau0VUIssRJOP5ezmkyVTqQSqC9tTgr2lF6KrfmgCk60RWDiyI9mkBr6aUxNmc8u4OIZhR05/64p1yyeGvho8Jc6WZdWE52m/FwrgCTnJ8JZHg69mJeV1xhX9bjtnycEZX3hsAoXbZLlGDkCIeBiF0mg3BqGgU78cdN/dFKKOTGGU4oN5yqxnGspR8mnWuqBXOiRntcprto6FFNzGDLDwfcVMN9xLEaaoMmx5ggbwRwc3hcu4BgE4cUMGRNw+wwY98OJ0W9K9OyqQJloh5jTpuDq3Ywxmj7LwWoKl++KIdm1GEkJ0/AmKC3wLOBxZihgCL2YBiwOppqpWU9fKhVS/i08Uxc7jGRmKgf2+frLFf3KMQ/OMWzwVjv6/mVwXIDHehN/1vVP9g10UzUUL0RacOhGkbMyDPSUIJC1G5ioTQ7gMOxE2F9Ipy/SkKsFz0kczZqb4YJcs9Dex30LYbVvH7CiO5zHaUqH+h7FbkwgwJ2pr2FE5xYQs3+tlxlrum6m8HclJNP2XFAsIkOdbH7HEMOu55pljUTVq6E0h+v9UyVM+RXDRUmKm2x1W52WBcIiM9owkTmfbGi0M7saRBuDDHt03XJ3pWPQOKNx30oA/Zkt/EVicRKE+b2jTCrhGHngJb0lxOsvHx8PjcI/EnX72Gsqml7oVpoOtaDVN2AUJiu9vzT9FV8VEqHx6gZDiFWDieQtZWVWEEnWfC94ovQfNQwNJGEnXfp2jR9RD3Zz31JrjPRMgKoZrpL/HE3ragKWZVRItOsGyoeXwNQwe+y3398v8Rrif+KvKcq2CPXc+qITiPAp4jiARAOmvUu+9WkUjOpp6BEP7cfVMjTLeorjyTwxWkRKkGuifiG2A3u3T1BeCpuAudFOcs2c96kUKkcJmaxX6Wsrf2AoJ7KbpMdedQSm+jJL7BWrbWqXxs7H98bQTCwSl9iHJPxZVAUm+zwKbJw3MzAwvdXt7KnISLyEGvEwuHMUT8QJmdU62fzIId1LKqNLX+g+vCdj1oN5ctYQmTCW/6QcevScns4rLeIrUHLXIeiT5o+3/sUn6SRBEV1hnpaKiRC2x3dfhyjnlH7wW6T+f2OmOvK0F4G7JBhKQpsGtf9ATdjTonx7HBIaWVWzUWlDj0hjxnJJFnlECUexUBFWefX+QnGPL+Ke9xAGanRryq3dvmm5/nYjrEq9Du1lwWKolFHQKeWKfdduxT9KL1WEJ+KUNqUQJr6leEqT/+7pkNm2vwUydbLcyjRIl1Q30v1kCPxiDLVHQqrv4TkY/l/imw9BgoNqHr79OE1+fp9AMXRSXHyR+U9MuEmqPg1kLvhlgDKgUy0V9Gkew/rZMtgHILhd7PqVCMHb6DtcRaX9/Z65SoB17qKEsU/zpp+wpiuXio9FflSD8fSewdSBnpohLnrDo4z5mm5DslFlrfNGvu1q3G9VCT9W3OjRYFqqp0hzgtXdNvMZA9i88t7rvKEY7+ZvrBv5J3HTEt0cS1Ot+dASEjoIBPrPSdZxAEFfxMTr/e+qtY6rTmsF3cu38HmiSnAo1bU2Wg6jXeXtnaHq01qPrf0eDbZP0Tz3aw1yOsMG6pQ3qnZ6SpAlyJo5VjiGjIZdzhPRVes1j9EvESCNMXR8XRzVwlV358ITHvdJTEyX5a/63XtAaLNIVjoPzVxAPS7G8SLnBdHFgXN1CP/H3JQusaoIgK17IGp8IGr4YCtYeBe+tRJD79xSHzQFQbROb5XBPGRck+kheyQM55VH79BnKd4ifIhXtgJeFv3kQ2TpFz9rNrvf+jKl4iYNgRnONq2Z5RE/diF2VuctBBNGZsu/KaiWlR9Gi2QtZ+pBgCxMwh0asWcuLWiofHc5GhCwHLx7vSZlHrDsoSkuKKccVGTbokELb9Ok4zCqXDhSnwjRLMawj4dBuFI/sHKgZqwnuztC1oX3GSykft0H/d3St8RGuvyMIzQ1DyvRLb8l/VtvMz1hcGIiehlYWqGHD3N1iinBDodB/L2465y8a0qisTDrFhlil/7oAWxt6zWEXC3ZyiwpW0N7BdFAxmoMqRrjiLPd+zzCjMdKPP3g0wTsiVTMYE3u1Z+/cG7hbZQUGcgpUOY3FYEPzCMQwbKuOzN1W0qh0jxrSbASMGzKDYUi3V27a3s2gj7rWjcGIuIWf/K4YpaB5JeW3kO34/We6C9/zuSX6sRFei0WH8ZM71h1umaNUEUrvA4fhHpv6K0t+Jo6f8Dn2MRXUlK3ZzBbR6Keo/AQfdEjaFJ4Tnlt79GLyMWtsHyXfcZ3BWyqNflYcGZBQnuq770E3Oot5a9yPytK0WPH84Gd4U/P3fc50H6r0kgv1hSKxe8dr0k7LT/lkWkavVWBlE+0+NdhHpIrIzJS5PrRRpqTmrNnDEBeTwvKqQtkTAApJsDw3194TEgtH9EVGUy68jmR59RsaaxWjUcCGFHwGQ2VB8g0pK8acZ1zJWWDx3itzfxhHipJrQM7eE625ZWu3dVR/pk+Gutn7zAsAsTwLmqfCIWjC/fbPZ8wo7PSrDBy7rBQc+g6btwH4x1LrhzJUjk6hkhReYsuX6yLIwJ2C96tW/qHV+9BFxtSnZsG6Rebju0c4dZHq2JjI7DvS3u4Hat3dopS+OskIcLT/Yi80dbhSNaE4r2/8Ttqo10lbaIJefNdrHkXrDNElGPkhM4YlO+zwBFuuO6SnF0Z5ewFVoxemIw5w8Qjid+u6hYbvhzcFhOK6L3xDuEFcljV0nd/CmE7dM/Pu3mD4mWMW+5EXSGIVX1/B1QRv3m7cQ22ax+I4oVqXQVn4Us1aj9m0ABCU16o8Eb8NaBGIz/zMDbdfsh1TWxwKnOIeIYc/LLqjaQn9oWpvKqu86h0E9GyuOzD9h9fnEO+POcacq4ZzeqDlrNiwTkfrlcE7q+bZH+jjUV3optOprrpineD81vMb3Dksn86EwfLTzGwpJU+gGiAMltZhpObA129DH7uMkJr3kIkyvkDUZyvjWcz7kkH+iJ8AB80xw5zEuwCflN3wBWOaY4PdV4NkFvKHuzyi98RHz8DTl7ntRwhsbMaaAWotmzRnA/LkT9MuRlLPdHeAx+3U3Ft8TWMDBQWZUNiGhTVGfIqaOoP8oUO2kZetb4Tp2eenqLFih70+N4W/A3q5yIHO1oX4Ixq/QbqeWUphWQ7WA0W2sEyxrCkCwFNkjdrGgvvAeREOKnqN4iyT5SVebl2BIAfjxg1P2LtZ2m7Q7dVkJUl74x02TjGIyVGOnvkeubG29OVqnacGsRpBrZMP2m5A9JQQVsyZED88HQEhyhojvWRga1lYbPjMqYwf9M/F/IsBc0u7zwZxyLKC8mboQ9853M/dGMpBqZCSL6RUwrvYV8uKCE5mTTcYBjMpecybM0xjJ5Hx3x4OyZcqDBiLGbgV44xe0z0pL7CDjHnVdNmKi2wDcnObsWxlsWS/PjgLIApGSSlA+eZes4w1RJUFN4xDrUT61V6ej3PwQ8cM3BxQdDvTxShq3bdjKWTufsNO92s1VKc8C0ODvqB1CJDR6WaA2bJopisYhRK5HqJSIBMk5MmzjPBQuCs3cRAzcfr89IhP13nbIx1xumCc+sVdey1sq5Vuh8S5RzrVuRyWGCEGGv98YJuIKKQJpLlD6cPBLeX+roWeiFMwIbUv+b1sEOCUnrGU0fZZIuJwWADi0EjLOCTxxqTzzEqetG2EN47NW9pZFpyTVcMlKeKVA/5CQ8AvSYX14cgDFdmoJvFD1WrwpVLvyiVf3hd4flkY0xKWvSTWlJNbM+Kp1xYW/u6hrxK0tUbQLfi9QprPOAc3xnd1Qe2hh9n9iB+t4yyK75R/poH0qrkdRJLQQxK4ocBkcmbKqwVeMg4qmn8rWZp+Rt7wE6cNXA4ZJ296H9splWxXi0MDjRSZX4f4gvM1NjygV9qsne3spOtHkeVUF7+DxS98XSHWPcnZDh3qxpeVQkw+sFJokANOSL/iAna8NXqEOXqyENP7BsnWeZ8AGPzSoyfOw2hNCHPO22Di9trEccb7OhvViuv956JzFX5YWJSVmXEn4qQ1Ig2SBqwvguc6M8ubMnWkc77lPgAnE+NK5ya4sCEDhwaR0PTeCv+iz7Ni5APo+QCNJ3yplgb7e1zRuZa8dN4zunbUIc4sXu+S0EfB+63zz4PE3vtJaAJvw2mKpHW15Cmp26KHOtEFFrHnqSKhmPz/JQVzhlc5c8uxs6/RmgaUc8PZ+HvOODxZnuPrJmtwFeOanPZYy67YrYxbIlsOnpaxDFp7aDIQfkmA2t6iwHjhUlTuXvbNXxblcvbsA/JZ/KRbgIO82vnja2MYuk5zJRAc23Sw9W1yqrkNjpKqNSc+nJGw9HVT4E51gYXmgvoVe6w+KKaHU/TR1Ct76IBCIiz7C1y2UNlyOyw4GcErxIdFGB/dI1n6ZbEuCoLilWvl93rDjxIfUn8rGM1pc/BAdvvTD2WWO43l8RQv+bRb0JBiiC7Kj1KgCVktLIzRbsat3DdN++G8VB57lnm6segWB8iwnopuFSsav/kL9cjHRVhZJmuakzsqrprUuKD5B06xBzhei45X/3VboTeg+J+O+T34kChrx8A1a+fu6TIwu1o/4Yl6mlOAg4edejZucTb21R55D3fU6a7Kpznf1t+lNfbA501jh3miPgg/yTSt822lgppIlPo9fzukxCejkPsqfwsLn9unbzi96C57iwlTMOxbXb1JFkdaIfxDp3TC/QuHqa8PO/QMxy1/DEjMHLlrLQ1I0UEqCrGlH8NJ70ntETp0xM1V5h/zl1pamhrPkaL+ADI/BJqNODzg+SC+lqI1v9vF26IkAcKDaZHKg632coQ5yQ2kbcp8ZjARhFXDCBVQR4tp1A41J39hbSpsKgMBtSrg3VhQ5jVVC01i2oWghBgkeohfDl2ddwkP6eSDIZ//6dqK/vfKxoYTTTgT+h9Ri7mK/Jj9UW0TagAuH7QF+eDM0XRfsK1rpfkN5RIZfD6Wbs9aFWsvDoAsHYAFRL/oNq5iAek+oZOlbQ+axhuAEG/J1WNQbLRgg1YMI8jxKLLF9lL70XFQD7ySZCnm4P45qaJ/xyo9HIk5N3oc95GVivad+gB4E0mGRMNB76b6NFBEFDe+CIJGr06bp4FYmtfpULPhQX4jMRz1J8qxyUCX5r1XvpMtxA/7Yy5KinC3tbNhY8rpGE7YPg+jFBJOOEEyckhCk018+1Hk7JJXIeRD128eeP3IaOMYeuyj/zEAZlZbyunNGZrbhhqfBgovXWKxtkfnEMwgi42zKYlmZ5oHu4lh6QjmY6E4/1DOkL1mqt++INhviaNF4fHngP+IgqDrqPlK/XnSFppIyY4cKA3HoeUTlyhDxzXx/PjOC0N25yhdxIMNCXKau/6swq0wbZ0JF0NfHXgMxxoCPLE8gVK6Xt8nuSeN2nIZKuEstU/RNSfzX5IgzDQK2Uhg1V30prXwLx/121phMkn8XxCL3vLmY7JuKq5HJc1V02e8MLLuXhErI69HBIsTzjR8aUcadiWYwsIXbSc76IFCxqGKw3mmHVBcacM5jcUBz4KO8DEGA4+ExY2h2qjTo8a+DMk72tHdMVESiSBySAyJfRxJQwNY+Rvq174oEAKDh7kN0/YQ6S/vvH9LVdX5ryffYKwlUSEHk4humTlRt6ErKPAl4uypnpY1p4xAzzwaQ2NbyicL8wumiWm1L6NnqVSWbH2vMbqRTewUMeKUAyd3+DsAEg2BFWCAPd13lODe/TZB/1YBfgI0MdP8WPhvmkzs8DbMChcBZzE1MtiZ6O9mMbsyG0FHCeUWfTi43u9NjwxoZ75Us7SUD92m3pZ/wi9KVkLa4VPs5XJld1xIYuTBBNY6Gmktx3gjYD5uyry6xGiyfcpcMR0mH1SlTylqkjbC+PRHcd01l2sE7N4H/rlU9togokyd89gt4TzEFxLeH94A5aNhHCPXyTd5C2jE5C7knQV03wzpAkWIh1IISuM7M2uoHNjNXF1WpNP+izLnrzH7lKFCe5+rK/UljFqFa0sbIO7gKz6kR7cXPdfIaSMaDcycNPftkR4hC5IMbWs4aP5GfnZu1DfzfoZ94CrWM4omxjieLt9EwT0ppyyZBgJie9/K5PDEbA23CPTH/OSpiMhzLLj/YFgCb3Yn77AmIH2edmGOdU6n9xX/nfT1G73oa53aM0uwSiiNmqKfCLgCghcHIMagB6nonAxgaV8/KvZtee3c7saMTPO9JwQTRF+1ck+iYkXHIx95aCMHvRplNip2qEfI0NzlpGSzUJ1eCY6YintbBkFmjh/OWNFx7wRwuytBqcxHikOAWptqCjVD5Jtk2rvrgIVfTY79+ZSl5JjwgGBUor0dmr5KYI5L2QYpN65o05J+KjWmbfvHH6Pj+v5KrQMIuaq08TQpeYVvjq3g/uZARa2Wa5CDWKwKoOXV66ii/nX99prhRzDiH6W9AXGj7SmMIpnEBjxVI//uJ9UilO2P5GqeaO1PyUZim7Jpimk0retbAT6lJoztuDtje42KP4Y6KY93JM5ARsN4Tx9I7EyfqsoU0zE0OWet2szPT9F6lKTWVLheBRuJQV3P7UVdf7CzIB3QNl+K3zShxmUXGUd42OKa69HoMxlOq26CAniDRnAFlFt6Q3eBXgfhnu/UpMLeNpCF7R6DbhrxnCeKyyaM7fZf+2OqsRaTaRqFrdP8tYUeT/PvlXmxvKSjPvQzMBLT/4/66NLB6RaCARW5ndsNjxyBA3sNM3d8/9V4Ia12oLl5LfkF0zm6LbvWCg4nfhpWEsHlFdsbdKoNfiaeaQdNRzBft63srFq/o4Ga0oGrNTJv7ebqcT63QGm2cXKGOQRZTpgYxyYyKjc72Vs9yK+r5KclL9t2jKFy7vcsXPVedh9F9MjDzqraCv7aOwb4FC1dHn16K+aY3naBMeXuYo4iFSz8rWaDWaQ5rcUGwnt24VcULuvCLT7m8AkgVstu2e+xcWyeA4tx4ACjO6YAIgrd8+HmQARrpX1j4OzHqtywA1zpBgwwJKjQtDUWS/4byq2wAE7imCtYekDyHMsZlJal1rqmDN8Be0FkdqTvApJLO+LYcN5kKI3VebmvX2MKZ+XrHG0yhsTwe228vxGNSY8MMU6DXvH6G4meUaiwMWLWUCyRLc6WTmQ9zoVtSP25W4wip8a2PRd0DBtRyCClPu24xx5+fjRR1FWPaI727nPZtuJUOiDu1s26TqlX4RcIoVttmszltpltzR0dtCSMQwxvfB6aSLo6mLSjUM4j3DuE8rpQBTARQgUxAx43uQ01DbhqVvHUgUhPWIltl5wsVh+oMO/TEIA2OfKdEatpN5O8jHT3s0UNiKZIaYi9EvUl5Fs0Cs0Z59svCQU5z6RbJzG0m6YiarsJd6nMYONRwu92EH4aWVron7I0Lx2ol2onSOqLZeOu8ShvpWQKMxeNvNu4OZudLTHn9LCSPtJ9bl8B04xNAXaGGchIY8tiaIIyvsVq5Y3Z4rLcp0OpjjDrJhnQ8YGv44PcDRvojuiKjJdJyCllRFcep53zW1L/fzsnpurfUxN4XDE+qGPZXboQqoSENICu5o7zKDwPE/AqG0+7p6YVLSDFjql+hiduFsTGBdWdCuekxr1wYtlf/MNfv/Dd51N8MRPQhjJiriD39JWAzz3YVMUGVE/hnU44j5Vyza12r2elsU0H9fJzxpQ+8JBj9TgqhjuAgK/fM0pdO1mJrqDVpTsCXUqJ/jeZz/Sm6mKuKNtu+yGyiFlkGkoOBb8bUlyh4EQ1wfWCrJokDB/5LSlNew9je6YNm8QrxV3NVnCsaYcjy49sPyDj+8WNK4BzlEf15pjsx+IV7oU4Gxpi5yBGIY7ZrPHErMcL2oHMUJEDIeJcaqWTeG7vV3md5FdddlGDKVLwvYqzrK7okAbh0A01TnoHlRVwuen2UxRS3P/lXRQT/YvaZRfOwWJ6E0qtO/e65KHIlNzsWVhWrNuo5ZqxeA94LRZ1n8ho9x9fJ/YZihxQSA0E2Y7snoJwXWveEQmCZWdy3nO8lNXFfsrro224H2vPT3GvDNJdhl/pbw3whkuZl62kVkk2yA9iUhQDSYPA+zDtXHU1WF35+tdiSvolIG++gt7sg3s+l2Pa/mCQ4BkAq/THSfoLc8Vpb8XGlSIP5nf68qi72I2GH232xcy3I4/I5jU8+8X/3QT9hveZlnmvt/WMbiUOxYhJysh2ZEv4yKxxK8bYKxKjljA2NYkrhMLAqdi9CQnIcDAHg7TsW8bPXN6cGKBRNfDnWQns3lcEuQbryW2EO7HeIKCeluJB8h1Cq2YZa8YgPc0zTojoWLPPNUiDaf8hRLEOnCIdxHKOKVALmMZeAntQNIefclR5b1oRXbUEoI3UNVYqh5dWH+n/ahJeg4ZFfFe28yCP5CYC/XhS2Ywvjyr0FjEDke0hn29omHVkftYAswDBkI/XWgqPdWAkLJs9yRPNe3h3sQqgbMw8ZtFtlVTXyDTrFgh8dDXVTfgYVFroMjsDa42nz5l7Y6MPZz5V8BRFe25DDBVT4t7AxUVEyuvkkCaQNh2ohft1TgOwYUhci0zLPufXLAEAbQif6pMXJpJo9a/DUZIZ7iLyPm6RzsH+rn4ekYUHAcf1k0HRxDTClCebBGf8Ky8C9bdqQ1IjEMa0a9/VyIIPeEf+aBeJiL/w5SHVc/yn0jGjnCDKBS1hFSUz8IY3TfUwQZqVoRlS8cwl4wt923M/vZ/STPuPB5jqqTrPA22cMAOX5lb9NGRWTTqws0cGa5M5CJdP05h2XXzBUWRVprEpPRh3E9bdXuPXcqoOOdo3S8kq/yvZZjMwpc4dvAGThzxfKSAEQ7PVLGOe5oT2sRQ8H9HbiJ89JJ5LNLWChwF2yoNcnyMBgc1GNuLSTmnBoS9x6OjhoTvhkf0Ltvv7Y4S4yU2GiaXl06EXZ1i2954nyuxuuZF1xhDKtI3sbiKAc22ITKeGQAwV9nGQQo5IRMvV6j5qZwfNkrbHbnzV1grwVRelRhb9EyHC1PYmIDZUuN6SKAftAt6aX6KGtzHPrvT5XuhDgnfiU8/IwWRSLDb9IFFJNeQizwID0kUkV1X9et861S2Xy+w8VbA2a26M+6R5CTkZSR4v5CVg+ls5ny8k3+SibnSAsEJWcDxCYnybXrHS0jmU7e8IpN24s5Ym5xr9ri7JzqVyS4MjZ13fH5b5nDmW2+gPfS28XWrX+LefZLDLAPs10hrzKhGQEecZVKcX3W0fQSD6SdpRWLIdFdIAY/3LwCWsNw9w9n/ArwEAJWwlv7Id5kygZs2qiu6bopFV7rgqPvkpDa9+Kv1JO0N8Yz09qBZLkwPZf6HrVYhUhxP/9jgIMNGMtgOAA+XuBsCujINwtU08Jj8R4lBF6WrmFMXdneVZ77ukadGyezd9bb3UaDZkQU6hio/lH+r5v0+Csl9SpSxb5zVr0/gyeXWDmET6ka/zHLGHyWmuQEZTwhQn31Bz7N9yb7ue0EPNqe9WDF8Y4JJyeM+P6SQbXqRbIMXx1BhsHR/KetvE7HZYhPDRkD9G3hzjiQYIrrhEC3POdaHJhgFLWK7DbopC1tkOt51C1k1yeb4TJyzvJykjtM8j6DyB0/qOFd8R76m4yNORJMcKxrKTKWYaWkzQBbDucDeJ0KlC88hsb0WA4hynggnyL03Ob4cY8mHwdB/tOxMDvSoF79ydriVBCcm46f/1EbezJTt39f+4D9LxccXghLjJVmNrD8/Tfdd2dyS+dcsBs1IkQ9yhDvVlan/Sl6ZeI8qu/YFdHaqdDeN6cSIZNVMD/WWI4JGDCPaizPmTjZ3ma+qDvp33KAqUFnbRNA5G9j0QCnE89zb+tX88qnysP0l9QTPJbsCZNc2RzBtVzXX0nYeEsJHh32+G8QSyk92RYOA3L1H18F0bobtZa+5cwJYSJaxn14MPQuXMsVEPh4Os+IMSP3V+ywxMrduLKcCSNLNfJzdLwv0lq/rXErCWQY4/+g8I0zVRddskMvMYcLfiqXy9OlWcnuXTzqBhIW/wTKQ4v3U23RKX7OqDzIZIkP/paXmQHKYKQnj/XK/+6RzeyQtkmLsUj0Q4lBqRegjJaYWAaM+6l/ewcjYXSDlgMqlyDO5Prm3+wTYEnyG3vbhkrhMOO/7dBRbCOsgr+7eU4yR74EhmMS2UEukjgjfW3lJROjVNiUL6iy/IzITBejJheE76yPtIZmXbgyCg09OfOblgnG4oaVl8BPtAy2eTxwU9TufaexHMWVItAU9ejoTUChLgdY4ct0uwCe25KCan5o5+optYxmqOrE3Yo805ss7jUjBkn2GKoEFFd2YlhKMwJttKfiuKKllfUmYravCc2Mk7RNRtUKhpqnzQ01NjoOswL6VLU53owLqMfleoSDx5pzLiFaCxB6ssWjE8s3s5qs+8i3c48PLW/u4ihdGdWv4oHVV7fmOuhKwsrt8Xj2szNkYfyn8+0xrYtCx2d8+69Ci/TiQIJPSeopInNOt7jNsf5cfc1Jcz9AYmSc34mR8vNCIf570xNYpDwH+wX5BWtSD0XFm2QM3wwEnZ+z9cb91c5eZk6hrxMLalFUjPT+DG+3VAQjxISFk6ljCynvciKlQ3Ww26xnKvXMf8uuRHaMV8W8950IIcWC1RnZBzE28m0qHhEGibfpfJmmZYgJQer76EbQQbNOg20ptFCdMy+Oqa/JNvQRA14gsLxGxdkjh2pJb2ayQqJ6PzhuRCy/xWlqNXdoB6vecev+FxnXtORWmebf6a0VW9NaFQawe1iedGnSZBRvoO+MOWcikPij2VBMv7jPIz6svS0TzarfWgkUMlkjoqYhhK9UVNBOhK0yAHJQX0rwws1J4kzYhNS3ljT4Si5iR+AVeJdp+/HJoymYu0eckMLpE3WADvsPLY8Yu71USVeKq/YR73Y6F8zw91J9goRrT5rMqlSkJZGRoPDhYFWPOrnKIb/VjtigAfWr81sTpKnnq3C+x5QajSxAx97UiOka9BCcDuF/TcxuUe/coNjlDTI8EH8UX4I359U7tFpu6DgmalCBOfosTOSrbTRG1LMDpcuqnE7RA3ItL92KM612BfDkhyjRj7D08kVyZyNWv9gMBcQbqhzU+YxvgmBiUTSVKUFZnAHZ+b7EqAbu/2oPAqso6OMBrfuAYHB03I32tlxQjuh5+1BOKzD9K61AqS8vjetaFRlSCxjxoSifgYCsENrlz2ziVFdqS1XEpCzT6FTm52vak0XAe4t4mMZ5kIJLqSNnjDh4ITtUunfRhquSKId/FvJIKBM6zfZM7bxI50QeRq3SHjz0bgpD3MeLeeGEJdAaWgGeeTWOz4vh6VYp/L6IqWKTp/AoejvjxsziKfmlbj+IgnvGcNQ6BlthV0Jw6Tj8qJxF1GqZINMiDiXAt7dV65z471ZSNeWcrHEGZcRF3AkWrxTUhqZUBGF9dNaS4EZU754sdw4obxTAkj/uHT0YJwk5NedbYO1BpBuQp5eRvxuD2B8KUV7dam3jQ6vIY8OuleyXMYbZecH0nrcIjX6oXflm0Fyn0P2FNCzFxBB/XTsbFS+2AHdOL4j68o2XpxJdd75F5Hapw8AX7jZ+CXAL6NcrmSOfEH6D1mJFQn6sGFQDqSz0gpd7woVQwV/qkGkIb6aAOxKpy+2sjMNLowsNhlLHvCmkS8nZoKT/33B43Uy0T4DJJDlHIMUHzrI56aFW1YOHxaLol3SQPh0YYV5GmkDyf9p+X9p63Q2PyNN0YLxGWVlmgEstzPddjnd29ZG09zb3qjOpnVBjCNv0Pz2ntZyUzTVr/ZLQQIo6eIJikojeE1w9k+qC/V8yVoilBWKdGFY2VA0sI6P9nTayZbMu5hyZSLKV1X/SvNHam6smx5AXHdhtoL1ghZ1JC4Eu7WvRCHD7SR87K1zl8VwEPjbcBM0ySKxM4/qblnWyuKJf1T0rElGO2E96AM0ttEaHELJmeY9XqBP/yZKrZclMR2YU63DCUFizt8xkgqlYTlWYoy9vBGAz8tjbhg1KM54+VAhol9pfKb0G2jR15XHEGlfhvlUrTRKtzP6WHYy5jEf9Ii3MMTwODH3+5hRLUO8Zg07gvzptpC0PRtNej1IczticR0JuFhr3she7iLNO9GVSF4YXGdK0V4bHI2VHAurNCjSGcBr1jNIZwlwMubTqxOAaR3K3/WrIHx6QmoE4jfyKT8gPDa8DN3xHmlGa9c9HCMDTnfe14CuoSy0v9PpYhWg1KtHsKKX8hwtAWcBp/CEAaW/C/krL63o/8f0SJA905OrCDlocGvoikKbgstvnWp05eVVgwx79R8dMQ5XbaJUr1RHtuPT2L5vYTjsWmAPUW2Eb7g1sVkLZFvfBWEiqx/8PJN4rW/R07Q0BZHNI+SnxPF0plOYbwBxUKqopaviIZJbTFJ08pglwJOL7riSKjlnW1rRKiEbk5N90EGUSrOCu6VjWl/6Op6wsV4PR/jj/2+3WLejFdOsc8RsI2tiig4WWhoW61u0vFlMGFMkeRfzna4hzB7+jxXskVRsm4UCMl7kL5rdV0y0n07mKjWFJoN1kRaYza9pUMpHuwM2qF+F9byzodVjJZwH9W1G2fECmXtuynyTsXne2mrg60/8R+WO9BnhIFFgT8ziBfzu1OKVH4ah0/76FdZvD/azosDrNPlIa3lda7OTUwJvsh69U9kpkBKEiSnTqWU843SKESEW8AMPhynLVsEgcB0VPwBj4TGd2FL2FaflRuZR3HYDFsAhhxuhjq9PncQFx4EbmNmW8+XWXoBLo4GTkys/V/ZONGBWSP8d5Mc3KLH2KGOXQPml/dyZtoejZ7Et0Kwcr/ytJpZ2xX+3Gx6QP6eEHsb69ly5ifGPQyLarLkNhq6327Oo599XvjcjDhDnT99NO+/70dMpdaxUCGRs7nhmE07wHU84ARu8EtqdmJ94bBOwslbBf7Ze3x3Rd+S0pyKoHqIL5mU7KurT9MkLvSsGP5JPlz6v1czPJfQg+vyXKwij/Yq5mqRGQFi0mFtezb3ZOFIFqZM6JgbPl7BfEvzk0K4sUF3qf35A5Oq7hIHDqpm2Vy0c97NaijknVmmPlvLpY1hD0UBpWwocWRHOE6ZGuMYSpIJ6Kgfl5NKoFVV5XCLsspoQ4+8/vz/W62poBpGzf1Mi7V0wO41aoUj53+hq+vvedk3/W2dpKezI7TvXaJMlVRo589SkOHovPWIFkEQLLEEuD+RTex4wTxfjUgdtMj6soP1aDz+wLCJLEEb8wEVfZeYOS1q5ktoPg/0ZGtx/6vGT+pdfg8R5qRY1MYrGqELtiljFbIENUTGY+Po+NbiEoyPQufuGTMbLRTUgOcpep8vOMYHP0nCVVIvJk3idfN+pn1ZsXzsRNtvI2vPJDAw1dADCd9FnMbn8agT4sFn0vmGggreZfOvwO/zYG3zkctk2BJzPRahRsO3HrKjQ8opJBhrdlgmc8/kB6QniTMfHqOCn9b0Q3qbx30eUp1NcMv41tY4Xp1RZIWetkL7bxiJtfH9Duo4O2Vj2G6x/1tl+/2PTCxleJz3ybsnPs78jq6WH7bcybzFHsGrUY4/hirihB8VU2w8w//g8X5i9rCHw/YZbWab6jGV/M5LDkjUrJAxF2l8HBO9R9HaNsHfn85FkH6hLWe11jERCjSz7sIoLodgBETkXBwuMuvaPhzhFrnfn3lpiTF+0Xjcqo1MrIWho8cIQECOD4dM/GS9GlflG2HylhluRDy0Dz295ml2pVc73Ht5hC8p4W4ANZMzphr0LK+7qorD/ab9XHo76S1Fo11CCpOT40znIvzwoE6ZGmvPFdi7NpZISc3F0rlccNipSk2fgYBlKjm+lzU4D6GggbXAB6+ijxWw1HI2wFKAOKggVAIcFqTA9Fw/9dpr+XxwQqWV2gRcQcsIXXY+K5bKZJOyE/wdtwu02ZD1rpCHFFnWpBnHGfzkjVlHhWkD4i1Mz6zqPmMkq/clcLVN96KwaND64dLmGv7g4BkgfS/qtM9NkghIFEWgik97LKWPx7TOLdeBGLOdPV6wi0zAFu5klT/0UptT6opYvQOtY+fuPAX25tYjOVNDezhDBo6KBmXqvu9uXK1Yq9f28eD5zn5/FQdypPGyQF/kwkd8Qi5B7vrI4koSrvnDO1uFMWAvGBfCIsxmVpNO/N/gTqwgZaEANCM8aZ5uWvCzwMtGPipoVt90ppv8YUSQl/0aXaYbyGj6HQgYIl6xAAq5i467CfCXIJNbNSnCnnCHow3/IdVlHeEUtS8E0j9uTJzTQjepSNM6ZFxSbQEg/IwxtBT/to5NLhftGw2nNRCvEcC3ClHfvVEN5tfUhAF1s9DM/8p8K/uujryGnhz5E1XDHVATk0ZGVX86KrCDkH5reXk53mQ6LV0xnisv22hMbT34Rjtn/KbsV0m57FDNihd+Ln5FREGvtkf7bdHPPDR96RgOAS736cfP7BF7BpxGMVYIFNEArpaMeSbU2Q3wcFrnU6BCflw5++yKjd7i/Cd4KQKJFNl529UUCSOQr/ptL+Keg90qI6vRNqMW+GAb93X0N0TM+pNB/M0zItiGsW6EzQ/LAGsdRUCsZ0UePVANmJJ4gKhkKLKCduR4Sr00UC+FtM8zX7tmu1GD62VJb9EBwF9lpgcJEjp6V5QiCWBFmfXu8bM3/KLIvbFlydKDz2fyeji2lNTM4qFg2kYu/47L6iHFrQaRpQVLLlajIbhGc+AtDRIN/MPtNj2oax+7l05PPsNRifx2CJx5EscUIBhuBu98DubZ7wPismHyxja6vu1nwmjaSwLzgAVvIRY/BtBDffeTLSOu2MRcNzzbcemzvXwD08Uomsp3YeG7zBpZIv8v+DDokgNfGmGSbkC7p6uhlIoDVF0catehMCcgWKMrE/5oOWgP7lwJ8U5dNfFcGpuQSgE5hv2zVeNvkbwoAnfPIb3YmNLedvVgkJGQm/0lUb9SJCdPd+W/WhBCdqWx9UBUnZM5PLDoxzRtErU3c2Nhwn67Yjb5mqvfVln/yHaAVmGes01pGTHa8FjLf565zz5XdbCqzfh6Esr/OQP/vX2g+XwFU8+uPHXUuLyRoqYKa0Ddk7i3LeYXiBFvQGtlWqKyGGS2kKiSiTaiXmZrRz+tdNb5YlfT+/y3mR4A6XdGAASdwHdkb5gbDhc0lQJOrOwPmH0gXrzLb4ThkoVnrthzHcE0hGliwJ/j5RmJn8NdI30zg6mjVhPiByq3GXlKIBWKAn10gpjgd6VML9Xvi8/OGdz47Nmd2iE/l1t+UZ50vpo12US6TCGfLtKWZ8DuabNfesxj+s3gevKsP/q+r6LEhg/TZ4/6l+aogxdIhHbArDvRnHxVzj3cNYi0rKUR/I/8M92VxB4rgZG9uYQ/RUX2hHCnjiFk86rzb4/O1jIPjro6/wN2AcKsXsIl0WqM/j0kpXoW4RXRxqjrLFtFiIVFk8VlviqS+5RwSTDkpGRaDNB1xLkTJSDbKrdO8ed6GwT4or8fVC/op/AK4y4Pi6J3TdzbEkQRDsAEDj8l5toHOZ2Jlmtd3H2GHHJnVpuwDuCErPcVrziC2aSV376InB0p9oaVTgRPmCuI2K0BM9UsxJ1TQjMwgnu8CmG50GTW46XPmm8gefRr7pdP98x7LUbeJX51pH0VtrDgjd8JHzj1tNDs3bloGEKSH0oGpyNywLM9iLcsKGCCurMq53PlJsgFHkaGxC6cGvLH1dFVZOFLnW5f5JKnjhkMSClaMfDV0b10dj7LQOBTm0cy4DNATqhBYkX+rc27dkIoGUXZSgi/TobN5iHelCxSYmhXc+DMVCIkDDKXMYu4w9fYVm1vvOW4aYzuCf0DsyX3DffbSJocBQLiY445Wvgf8AG/rRV/ajDPjbvF2AXgz7PUL6dXF3WYuYkk9oygLykVZI/owcqkryI4w7p9u05Bet7ikOoDLA9ZUi4zoglw7lsSgDtSTVCB36wTwtAP0ED16Vh0802KNd35ztbwGRBxxfUOrzDspChRz4A3yaWsTp/HedvwUEk7accOhhgpyNY/BrFThYKc5+zpLHsyddrFT1vetKVk44OfceHmc7hKuxhkRwlbYEwO0gJuvMJTnJ+hvrXWUtZpb2/pvwTrVmGZNAbj4rNns6e5qXKoqO92TcSCKdpT+zknhJlL+uL26wcCAKT7g+U42N4pp7//yJeQbI3o+iJYfkzzDqMlhMaaTdFZlbpBrWQlRJAw0zlnjCa1WLvLEbrU5RIgenfNr1lWAG1WOXU9/2zZ9fqh+9eyoxJ/mWj5F3XbPcmM49kpBvvKcdfqArtRMGJTTepbdxEv+AdCHKSaruDGjw16zuwtcddfdEXvI25zFpVWOzFv3xd3QfOFvlmgUkNzkeEf9rMTrtrj86MJ3pRt4Am+tTiWu6a9YwhOJgCpQkkBtcNKNAg/eh3QMv8LwFaxC4NZ3Noye1+paHW2uvnGJMDV25W6dAWz+8X++QTceodE9kaaaJeQ9V8mp15OjfjQg0x5NS4eSvnozGvjJll6rDEbprHRcDwKZ/ED2wJupX0YWffuC4D459rMxYBup6Ky0ubQQT9mfZqXgyjrJJZY3HLw6XtAc8qSjMNryTeqKqg+CusPV1VNFqIaZT7qi7b98L0ez/IDJPJYFkXJWE7J18Tcmj0hke7rarjMPicNGRRxDwvnPC5ckNsELQaJMCLKvxTYmXkNE6OoLK8eavzCw0boqQq1+hBvRnvtKFljnenm/Os/1nbVMN93OOQS5wVVbC5STr1blIfO0BxJa/wVGDgmVrqUL4VijZQb/OqjHVuTj2afirLTC8PrmagUsMVJEBIK9bzzuF9SbJMNGyCdX265kTteeg3hDDDoxcUvo+SYt0qDsqeD+pP2etbdu6XJGlCkPfmd9Wt9nYBZmcmeO0PFakWDhXcN9dBBpdYzbSyCv6AScWTKjURI2ZlQn8qhQXtw+6VDbISFQW77r2qEJmqlk7xF5FiTE1Vd+oOKhVoJQBtX7pbbbTs7ZpYHVZLwmlp5TjYGoJ8JKdX2QBlIZxEmCRL6zGwlOQ4JUQOEm3FD+MWkshr1yYJYy6OxzJ4U8DMSK8/7qciuDfnzck0h9dZWk3/Vbqzxww1P+a4FHiw5lLDxicxSzQt6nC06gpzwP2qFW5j9QqTe0LIzY5PdLIYTAYxtRP4e5OWPBJI9Jliz7lYN/A59HumDoyc99vNDoAPonfayJ+IgHAaPeKP3MnMSRXy4WpWR59WPivY0xd7Y8r5CFhGBb5GCMsr0a2B2JA1Qq9UfKFjNIwNLbqvXcBcncOSaLIuxz/6aInXzZI+4B4fjVL+KDIMFlpqkP5wHiy39CgIKSFteYkZyO9nmbD+svb16OsvVq4BecZzT2NEqp8W8IxKc7jcp4gTkbQEj7tQljSK0KLloCSEwk2Ds5/KKDlFNccqpda360YbT5QUeUzDbvowV+4rvYB1ax8pjOIPxzfl0Di8MG0oB9snyxoSAQgGGPgwwMjNYFT6/Nv5l+or5mrRL8t0XrJ7JOFSStUXrZoXwRiKPO3x2e817xL7rY7aGFq/WCTmH9bS8R8WjQ8bH+I143ACrrcRlw3YAImvXPI3nIU96o21G8Q4pWmMqea155jGe+G7p4zUgH06BqGVl1FF7ZjihTeQEatUj1o9VOARROZB3eGqlHlfvUUBgBOciLDHOevb6MUCIIoPzSKAQhsGJBL2JaCYfEi6nMjtymQwx1VnCJM+ZRxJwbXw9eCz5ROg7a+SUUfUiRebL8C1LEsdCcl5EjJ5Ga2gjUQoHc2IDi74I4Cec+JkvKpY/334tQUzEDeMohyz0Dtg3yZSSGTZ272APosVJaH1ea9zy9+Hd/L/R3EW70HOmcVZCPYnnKJmwsVDePu1yqIIwLxpT/6oVtfNEC2nNMk6XuaHFdsj7N1oDrgJpspFgjLPZ0M04ld2TX5GbI8OzzFT5/O3R3iZRNrz50u2aTxESTo5a74+W7kIrXx4iTaD3o4rP8O8hL87ReNkXW9flNTYuxIT/rexa99d8UBcM4YdIjGCDXU3FBmGR2qR0BQ2CsxNhDrrL7CnbYpPdGy9VmEAyUW80IFY3HVoNFz0Lhss0fmiHOk17d0LBAl62B1zIjqqLdokM4s8iDZHlE2I8CH+G7Mh+IJGKrnSCepuCtmWoVM2MXFpDa4X33fa8A7gxeLsjrNAiCaS9lIbjWGCm/QWB5EEaO2JRcRJLLaoYkE6RWeYpzM/gyCCzhEhozuTdMik5hobasNs9lHgQeYPKfB2jtUquCa7VAM8fpzgGVVfBAGIqfmC7X/w6nT2ycZQCjOapd3+FIHe9W9SONjeNcmObZCTEiGvtp1ir5U7BektSvg2UuQVKcOex28LTFkxiRvdGhCvaU7n8T/YiVznxTQKAF9KoQXv2n2fKqWUdaN0G/oVjuc05feOvtML0ieo/LH0N143Z747ce4t82D81J+B5iIAVATd2xW9jIpqYCOGSuZ1hDubeamHI/+OsbmDXKLjPBiUF70fheeacHias5NgRVRiI9Ojz/au6wnVF8wT5JkSsZaMuciNxMrPGstDDkYzX4VeUq8GmnaIZOmoqOBbbYRNJ98RAaSn3LOzEyt9G0ihQyq+gzzddXxtFGIzwuY9ud57NknQxB1sf25l88DOKWCNPs2IMcfF42nZAUQj5MqaWkBQYlNcVaXatd5FnjRcYzM84l8cA6EjOj9sWOTr+rXXHLtM3lZjssaobgtZGpckAVoEuxV7FKEOLwstrCDsrigiItzuSC73xrMjjvv/HxNKyXn7pSDbpeoLnfATYJ5vrxtwo8xqVKrtRQSiXyr2+New8Bbj1ZVmb9QRMzJMhUJQObY2c9R+Uf0+Jwy8Eh6c2SR76Z9EN/KEWwnK86zyhdSjhMMc9/KG/PQEHL0EEMwnpsq9jQp1TCSFJI/740C8sc4TIWq1nD8N3tDKubOSVSRzwJcGEB2GG7M1jnxO2xnF9uwR+4pdoo5sz9ynf6PBTWsll/r1E6kVV2jFkhlm9ORGroc2pS7Bh4qefgPpyY7jqc7YrzYX612haMZRCf2tHRCkUkg8wRlrRL5pHLko2UPDpQNB/sV5thjj8bm9O47xoyUnoI+C7UgG1kcQCJwK5zu8ofkPKa5USxoHQzXMPz5u2Mzt/8imUD91K2fyaUCwgmMUaoqVHPjTQ61zjKuHAx7dI5plIbwampR4/QtGT+An12SJh16/2VNOomDhACTp7YhceakSiKJffuslP9CMe88leUKP1S7DVYT+VS7RLfDiJkgDwdOD8cahy7c5iTnQ5UfuyEcALNKUqoUzbiRyXr1aFxHI9Wh5zMldOwKo7cvM2+Tq+OcLk32Mqlh5rXT/HmE3Wr6MoPQRzaZYc6U9wky1/g2zVjn4iw6A7F43CZtslZck0dZION0aiVJT0slI1hVXvDF/eXyTIh/CtJHRMWm4Iu7RC/3DJrHSX0wb4Se/hEw4zybMyXIn3wF1x9Z26T7vvmOJUAlfSxzh7phiTLWyd5y7whulRztn6f59doi5ShyrtVlig88b9f+FcIfJIk5MDuQlq0v6Luye8tu9CrOVB9BeHgW+WP60gkj5MceU58i3bMhnQ60VKHQ7F0mf2QCij/Yz/VwHkMJz/zRZCQ0RhqM7P10mY1ahk2/Ow2ndrEbIDhin8hM+8EwX+pqWeZ+KJKjqgK22mbkSjU3w62UW9KZ8sUdKLyqGw84+VgxSY9E+/aVC4+QiuX9KFI6vGPStwYpVm3R26c8X8JJZyqE4lvsXQW2HMQHL9ND2sP9743J+luyU7SFsJZIawQ/xo9KSjeA5PcTVlUOOt8WfMMCKlu3R7zLdweBhMb9ZGMbFFpshsp8GJXNCBZ25InhSCAl5auLl6VGjvNO5bPU6GPtmp9qLUnKeU/QZrlU73VKN5iouoFDiO5q5GIHtWbXujCOL1q4+FYnUE3E+ORoRNXEW1bSdNQEqDT8Xtx2ly/oOSLAnrGVVSJlW+u4btKJLTWYYq339n6D1ZAmgvU1ss3+Hn5QjV7+TNcs+2sN9EQ1GnI69ojDxm6Ua0/zYG10FsD8k4LegGABtPtBGtLw1SyKQEBiXVDqw8HKDXZ3Gx+uZnXbXkfNF7VJ5GfW2dxLgnT1b67GM3ElTklDMRgdhwq0P4jJMD7cB3wPlqV4k7l1QmEvWekmKgGUsUEeu7Fu1ifb+5GSOQ0UV3iGxxCfzOpMZXT/c77I3PhTzDTVFqXrlCoJ1ZohECU0WhR2WZGQXwYCe8OfygV3Est9kcCOUSc/IHMcGaEn3b0d7uVzoPMNtF3/Eg/yOW1c3EQ5B9fYudrsMEnkvIF57T4iw2dNv5bu6WvXxmMe+uRUmH/GpNCYQ0XXkiBsokWH33RK6tEqWJbwroT1DG63yA1t0XWVSH2cstFgkXsLf1J5IC1hVuI1UNwBdd5/CFDfnHH4JlXKjpWrca4xsly0g2Czoo3/23SQT3reZWIUXjHQcyfBaYeTFQvXN0zx+8rdYk/AYfAYDmzunQq8DhvAQ3hgp/u2EpzFiF/wY5LZLU6+TOGFui8v8/rS3L5X2tVnSfcNi4KsVwXbi6BZX+kf1Z5Ajv1xm3aCtevlFYW8Ipec6fURTXdbKSuw3BwQS8/g4NfRk4lmrRIp96zCTd5FZRVJCWPaCn+K8CcjZUoVC05J+hkt830OVKvGC6jK7yIQ3frvbSyWcuI6qWk4KkQV+IfCac47W05ClRcCT0YiPpib2dU0K46LrfnrBZdurfRUR7z3UcIRFlGQUbJtqjPYKvrHtPH37OTO+z37ff5RTRUrgXfoP6OYJrvePOcPcHYAmEyGsYQCyWEbFKqYJaTlK1XiKSHcEQp8Z05MYMvqJPyF5T+WtyvnW3hKP3q4TRQC0yvOmlsjiwwDb31bOFjDpHpAc6gInrOHbSGA4eJM404/WYYCXaUBMgHuhCbMe+NGR+KalF8EKTIn3LVoXNmEVCDN2GNvC7N2Umc37KrPf38dMYHsZw8OIWZb7yBXagzZwv46dvWZAOlfW6l4R47FaATjcZoXyHrj9VHhVn3YsfiNT5HRdUZzHSmv4QYtPW7SBkjQf4TvH+A9dmJmFeyz+ujv0Iwis8iQu6RAQcXm6NZqw3hWGL553U/Ng3shrTazhKjyJtn6AtLPbIxfWRObEDfThCrOHmnnDYptYW6E5ucXU/njXRIQ1dSMrQU6PI8axxEy5j761a5VVKqWWXOT8Bhjr66DZjA7dHenimfN/cWoa9Aq20D5j2acI86IXeqFoH74RI5X6gpuLzihHuDhoG5JJ1sh+HtbYKCIm1Z8obJT8M4mRD5vWAgrGmJQX3mYZu1of7NWOftgCDwyRfh5btpuFhdQgYOs/q8HxnGHd4SfRNfa/2t7i65DQrzuK1a8g6DOomMxlSPz91HVW93H1R2bdE7IFNLehjlbNnwJb/tKyun/XEajAmpLBdMPiaxun4mvXxaTIlb8nhNAY9mdxT1ZxhO2bHb8CJGoBxxIUUluI4qjOmnc6wnmcL7hMt2T3m7+k7kFCSONo4tXcmqX9bKKFc9dPw84i9N8isuEuNIbZ26BKLu7DFFjVy3iHVWwQa+jlVY24fUubH/ogRTpuyLvCYaKC6MvU6h+QNsvgnGcbrcbCx3jZe7Mal4a7oF9f2AwZo3yoZ5KJQ9T+OmKmMzqsjU/Xhjd8nsdMN7eXxi6Tla3Y4qjVZYU0yvLV67ciTkr5dI68aTAo/Brp6kQPqbAbHExRh+u91QRxmldN6uvygMULDX5MPd3okP2j+x4MwAMwUqCSgSAffbY1TKVK3TfbHq2kzOSTnXvbDNfk3x2t7T+HVznL29Ip+vDs5QkoZOrVle4PfEvZuci56DW+AzXJPByHMOnPimk9lgHoYzoPwOpybDK8BpbSRGHSyoGM5/+odE9qLQUitNg87gavJjSLRyE9e0hOFyOz7JoMhqJhVFefkCOy3+ps6Qxip7Fs6kLEiljxiRKiB+drWypatG8FKmgHskusVGvWj8ygW5DFw3Z5BKP6Foq954Pcy2Az6ghtkoWkZOlMviwUCr72YIxJ88mSCANT1sz1E+fnVCpyXOCe6qj+mpjK7t9mE4fs3SCiHTza7/1H2WFPIuDMztZ3WXYYLooQjq9OVmAExRWB091XR6gIrpUjiEI1Q4oeHMOGv0uUpW9Tenrh+D3R0UsGVk8zeH9Q8zjoVuf1K71z4tKxtPe6sBaLhroMeLYTJGCZkadZvptDzj+A6Mw7nVf+aVXEGyi6NOYYv2enrEOseJbXAsflp2LRv7kbmHlNDZuoB7iIXLE/qYqkwXmc1Xe2QWVwKRXBGKahTDntuntEU3a0B6vPBj7XFS2UD0LAj8Cg9gGqYA6MkZNa6rl1ZLZJSixpTH8lQMtP01miaLtS5ozO9SNMYuDpRsLi8qZIeVyD9voDKUxud0ASm2O2VuGPzH3WkMQ387YxC6m902Hv26L8TRuLtTVJEQcbOOe7VYrNQ+GNW7XpCwbmOgIOBnC5URAVi534dxtO6CxbAdvy07ZTnAN6PsK9fvjsxv3YqJHdzU8lED6l7I0yWZi6vUnPKnQLr/fqeGbMGCRdS759NuMwEeiFDBVH+puAviVY1KwogUHrq7e279jVYJdTp/eKHhK3rzQU2YMRo7VdQThds4SNThmruqFT8wDpFl+43AfVTSRsHVb/2vcWFsllr8Zy+ikRnB1IoNy3weYn+wzq4CKXGaqCAU3iJGmD/GZubZxDIle00vMqosx1yzYJT1wBB5H0H0PEe6RhcHBD+3DJN/CF0n8XqC9oJnwwFkI28mxg6KMsFZJ5iVfkcepFkKf1O/8TD5udhBaZ6DKzaZOFgntsjhRuC1eRea26pIk162o8ilw58jA8r2XHIkXWM38pLIhyKk2oFJ9kqflZeLS5j0mYcs28sXLqudYIhB16cnht19xtdZoU7Ntq0sbnRXh5mwNLjdJUeD2a2y/Ce36JyGJ+Xc1/DTxsbq/yECVCq8KfYNARR3Jr+SYxAiqrHF1zAXyke90xR+KO36bE3OYH7KSKoRMDxodF6oO1CJKPxtOV5pO699MGHubieSmLRtSC5iL7lG5YYw8WCrej9+xltfTYUs+xQ0t+2GyuPMPwMTWopWEXVFtLb8QBxYVpJKiab1s5SO4HG/qAACfhQLFTgjuTaxQL+lEdYy396T1PHtH2MLFCkpO2A3PxoKNvTz2eFW9jtDhbs4yZBmfBpuD/S5NhIdMm1J+qexcanBJc1xbvgWeiwZcDhhcLjKdJ8aLxgIxo+KgM1VuKqV8SnFib/zzuF4JuDccTWMlYd874u52rLC2vRFBIdTblLpFqtxxhBuM4JAWdXSa9N4RmQbucQuLQK+Rz+rqmfKI9ShR2UV7riqcb9H8wSQdR/Nns+KGWBBg3eX5KPIMY9lX9iyQOHgM0DLI++iVsA7tI0X0mapViPzK/cLBzy8BWlxCl8tUr34jhjmAT/tw8oxt5qY0XcO2QhFiktsZSDqxL0LAaja/HzIuLYLoZiiv2nDXRmWLrgnDT1jbl5qqs7BtGcNYVpqJb/lsmkSEJGr9NX/07pDxNa+3W4uDHXMILddLuGo/h5+rlJyNs/FCk0zw71uZP/t3ZFau3ZAqsU9Ym/FxFiEvvpC09fhJKsTEKjUoLvFySKfxaSip+H/TWQq5CdAIvgv+ndfTA61AHpUL1FBAG1O1R+Z8kgcmcOWvM8VVFn3ARA16SG39HW5w+jqhZEEiQigzd/ysTpYzPbkTuKt04waW0bIf/cUSSdFb4vO9mLb/cnaV0W9fcdprGmToitez2qfczxaFHwhJDwMh8TBDQtRoKpNbPAvOTPbXCkSQyfm/EeniG3sNXG+916Aunr34e21JzbekBQowNS3OyOJNiHfNKbtgzDHhoDd963yzQsa72SPSQbY//qG7+Qq4eulnBkA8Go1r+T0w88veetTyGRXOfLF8cxGVQmgfn3SoXN7BKKGH+70AEwFpNUFRJrrQlkc1bzgarMawsg89JfUpJxEHPTqfg/ZjUki+gjDqAjpC+XH9SvWvQ16q/fISzZ/SKbPwsn4vWG1g7GHWiOCjhAjzmcFL5Fmyy4tOCyoUlQEiXMcA/5O32EEaSuvNFI9wX+/fI4u7YhRn635z3iLH5zQwY3yWQJ/8xcEM/MIO10DK7hTkdE8f92OpSCvKBBTqNZMmU9zj8YutWVb8ehbRwA9lwfPWvNXhg0X5+7u3+jSw/FPebftABxMVzdcjbxMtpRXXHsaRBWvDhaJuXbEh2znNyDpcJBe64wJNjveWTEzZwy8vRPmyeBY+/rUzIN3RY5y7t2l6absspKwq7T6iZ79Z6KdgpLbY9xvzY6KFpjELZsQ9HW/e8JFPCfYhj65fQYGqop6vNcCbHHw8AQONxO514NHkw/vDa5OwttsdBks4KagFNPWOqHEr8ItFVxfnpv2ccM/9bDskMQ3xK+W/c3TBQwoJKc24FN9guG6sKwXgbaCkKhlDe64fquxXj1yn/w7aaL6a6S7GZo60h9a1BcSIkNWCGXgT+/r7UD9AXqhdDNjQT5f/tMGGtbGTCiHAa6MmdlQN3ewQ5AHnTjrFqGzSjPQYuUxiwQbzkX3srfSNMPJ+2WdYQ7SmvppH7byOJge6VOXjgvsdq8oZ92eHSiK8cK/Grszta3hbhTpuc+U1mKGlxC7/MVJzWcoplBUBa3xWT5KY1OH7ky8e0htrsYf+xI4CP9+HmrHhqWL20i781SMJ0ZykhjxX62NEzpRvNJCMaVt+YXALN7s08eVNfSN/8yjmb9auY6esNuFSiWNRRRuhZV+5R5OMOItFdh55bf9OjF82Nk9MlpMhwJL4UqnfLqtG5J99OxLJ+Eigv9BwARm5BqhKCs4J4T8nsdvxQ2moP2yt3ZU9zvNI2qx/E+sJJRK+Xeoucv2oU6kVfQ4sY8/OnQ9cI+xx2QtREJ1eH187kJO/2/YkNDg3gup9GZnisTwMhfKOxxQFWBixF7hVDqMkZ4yTYfS41tgZJgRCvSoVRJRh3vOapr23DVzikjbP9n8TZAUx63JnEpZqw/S8h1B6LrbugqYEyduBqOEVbgri9LP3T/M8rtRGcl1FOeSbI2bceAKb16ueEIJM0i8XPW0EWqUACZ0Wk8gEDGmDW3/z2sly4DB7+kau+t+o5pLABFnB3NN7TX9200842smlO2LoPly9s0aCf1H1JFp9z/Bans7rgl32rOxgSZpLaeFtaJMiy8ja44TUsLk1JaeQWFQwtV9mbWQ0J+7COSyT7G3wQh6S4fCou2lEo4YkI4pqHELr15ha/87DzMpJjws+BELe5jiFI2ULB5DeyaU5mZQiCOOGV0w9jDMoGHRtA8d3hPcw+NlaxLi+0pnlHDArGYsCfiyKHWeqjv81Dw9kCm6kuu9FZDpoCoXttAqJF1Osq9ynmQKeODks2hdGuGzG3LnZuc9p8Qj1gea4m/iEqzbpD44A9CroFUCIX98dkNgXyWOLZgcVNAqn4U5QhW0uRNCqQEMshoM4qMJDnIJvg8iHQ6FaXXJAZEG+g9tDkH1r+z+yQBE4WfEtjwvbuyPvfyzgA3zyLFTVVZ8T9jHJ9ho+DU4KI+xVbPwqo6DSJX1Uj8Uibdr/4M7P9GX6Z59TJCYdNKP2n8rIKCyK9M9YmYcG1BNW/wq2r1z7VMg8mCB9Uk1qKQ3VZ7/tct++ocVlv+aEtpmQd92MsMHjHaeyu3HnlfXCKrMSz5OLdtfLB1iv/1x5cMoBt/EeFUTfsPICQR6L7UvE907Aqj1rmV9lRrH9eXczI8GgN0yGnqg+kQRPtRfdqweTgo99eG8JmKeYBxqLK7ftTG3l6FgY7tji3y32MJkP7DxI0pL1U/1B2P2T+rW3t13EPkpb5R37hKZ80/PjqMHzYgenL6gPIUAQ6zobh9uMSISR5dyR9h/PxbuUS0IfkXDZtWewRYdvAJ7pVwAa5kAdDBvs3E8mVN6LBeCozBFdGO6cOiayALEGFR+mY6z4q4m/Dwz0iShr4LVaVqxfoJklX2i1wWjjPCRRO4pyXqMjL3Os6ALXwoaYmEdBmwQyUqBiDcgIcZQZy8vuw7yvqfC4oQ5lvMKMwgliCD/PZbvZ+ntinnjFJtHq1ZI38QQBsn2y8a4FEzgeOleqgn1qFHDe6NGU00T7olCxCMM++MalK2r8RsbWa+EOwcwr8rExqhO40rKqgga6DaNr1FY13ZRK1vpt3xgRoaMSGw33NNCow4YkaIi+w93pHbvi4X1An0IferKa9+mp+vLKKWpMVZcnrzNTETn7SVIV+JxwIUsRxGTwmj7jI15RBphTbv9fhTtQqVIDE5+mf0RKS6IN2P/WPJAh4OxlCfl5ms1dCXxJOGEDj7JMxbHrp25pgPukLgRH4ZZ/CCAeA+XpdsSrlZzqepNKWr8iMzRGNxqEEQzI/swigj7pV3ZaCEFhiUFHirdBenTkcWsAc93c+JGn6ZqudRD9pMziwujNFiwTbvhcyr5kawY32dZsAx/BVCv+UQjF47YXLE7Mg612o9oLVviTkR9zeWWpWVqXi+3HtDmfvZRu6YTzHYSVjmZaVASdiLFm872TzamfQbcQtqosiduBu40+bWdUGBUYjQ374zSk1144HT6atuvlp5kJLFwPwT9w2TXGh1N461rS19mKb02n2QDZnt2vjZ5LHDXLtfE35fNUg36Y2cRVOFYJC5y6PFVRjI9p7aBDF9/UAvjsw4iNNpAf6yfbss1ws6llktYoiJFkSp9NoPVqAVTpb5jwhaXNPyURpyKb3WOxAnYrqij5xhMt0nmqZMz/TDAXqlxqE7nEUAzMZ7ezd8ZHYMBdJOIsfPk/4aWs/QwGPuq28GaiHWQfrqzNwccn7g8rBGHsjljwdNpphX4YCT1c+P3+YU1U+iWC4zFXYU7dize+sNvJcYmp5H8ef0bDBn6oZFLAacCbPvpqQTMHi3A4QLr1W1cMTe6dcyb5xrmea+wui0lS1lKUizYOwAsApq4gy4wpW3MTz1k3PAwWw/0lTbntY6kYI7e/gpClPULEm1AzoAfJW48Yc5FNrtdcATN0NmB/OYC12CQ+Hc9kZeY1O2syY9RonigHNnnHAo/ALZ72U9jH/mxZHglfYtA7tjvvplzv1NMO6AgXVrCLpGNtXhECNNm+HuQOn92PQWQ046sLv1L7+pOpE2RKkechJHmSx2LfBFUuXZbv91dTe1FUMfgQhbdFzRPhfLWDriL/dGHKSh9eYNBHsx/jk2yIkhTOiEOXD6BiOQJhO33tSg/lTEKvmZcXxKVZQUfFASltHJGFSb/4vSvAZ2HkshR0GO5bLqMcLYiNcKswKehsRZui6lrvnasX1nUg9QKmvrRcxbBbZWXfTVcGWLf4hIjFH1l3Bv3wRTNVIlG3eztn236rm6/A0nujg+99335/UaOZy8j3Xy8XZAJiLyR0g/rGy7GnuwQvvObKyRAKgtr4G8mR3owKOk1RKtYgwRiJli2W+S5bf3Rw+cnBwq0/TZGblQEuaOqKnmHxtt02SEUD3L6frmgQSduySv94Zla9iH6hA2PDaQuID2XqLCSd2VZsl/aboMtgfSkMyri5fU2VwavL3/25gdC7c77+V2T7aE5ccuSMFQfDj5anQagcwqYZcuFI7i19mSCs5I1V84zBQKM+82o1/x0hJ1BHkYkf8d4K0G5D/7I7VncBeunXmZvgukqwH+26UrTZ9YWe1Xn6jRcFudNayn7tkI5fbXQFG76jOwL9XnbKSzzh0WB1ws2dbiczMWyyYfpJQIyojpfJFNv/izz2qxQcCGOxSM9MaLvZ+ffEjaav0uPRvF/VIx6IPNsb9Rv3uARZYCr1CsQ32gSiejYkrxjozv6kOintWc24xG7y54/cKYdY4P5Oz70uhMG/a/2blVNS7eS92RwVHERPik+QN2BA77GMR0gfeTt/goiLEr3Baa20P5OROcHonZSpZZzmTPmCBJXnE2GhYoDiKJuZahm+gXhIkFMTJ8Tx0N+GPI4bVUSejwQ+T0j3GSvtcZnXlvkZiwpSRBGHabM/0T4sR3aTfVzFSpKbmPFLemxNS4c6cgJBlP4utiOvnIWMAKpqYLuGCi6hicbw1H25Q4kK/fhYe/hJrgEeBMrddoT7MRgz4G8Rvm+Xe7ZrsrJXBSJm0XbRmNEfUv2/r/KmUOUuhcZq75W6dgoZNypyfoiHqldgr0TwZ9bXkUEQEUR8V1XKF6/HoAStasxYJjL1OMSsf/cwjGwhY59mJZkbTUSHsnKoJvwhiE3QjT86yNQ3b8jKRhJiuvBDVVoFogOXs3/97BIkeD6Yq9f9L0e1e/AcUyPBrklE/cmhRX4JL1U9OUR0xTXKTwpCKWDo7dgn93SdUoIBDJT/hjR+OUgVZ8kcRv92RMc8kDgqXlcIhgeF3zVoQnJFTEzrPFdhpxb1hcHfV0kqsp8tKRPM7FRqYQVtoRQoi0jHMaJ6FcJ466kAZ2OTWd/AC3F/9srrMjGefu+wrwu6FsTOGSmv2CX1/qtkUiZumu++JEPSHMxRiIj3KmqPTBXXdmQZMhMa4RBOD3zOc6WE3WJmPQYipK+8Q6OtnJnl9W1GtREooXmio3f4wOtLmXaI2Dsj651E0TsylylHlYdcdZx3o7nUVsYUcwjtakyldN8yDg4/FDrmkgwaAjjWV/FjvIDO7SY8Y6BuYBvStmZaTh4nh/tqBuhld/ia9qzU99FIlDsIXSWJ4lPLHTUCaU2yt/A71eb1f3rT0JPohFVHqYC3suB6vv2kPJj/i6N9Q4vBTFM+YbuLGgO3Wsszptx0ioS/kYgaY4eFTZVka+F+9pF93CeU1vqbAy1mJyBVeZkfSTpGtLgvTsfDVz/vcx+X+bjlXdISIV8tIrWH7f/Z4UF3X7NmMBBE92n0FsZMsBjoSI2URYat+Rvd7MaJJafoANMj1LnVgZbNzFxp9ReNEwgfwqgfJ+6yl5KCZsCyAKCA84UOVfINVIx6T70Tw8tdPjlXX149nC0+fD673YoGAtk+vfpvVgrhwLUHO0G7ed4YxzF0WADrIV1zGrTH5d4feU5mZwYIF63HS5Zaln7AkNGizuY9cynA5W1G79QlNGj3oMp55ZYzX42zshQ4R/jjdxfG/ygq9WNT9QifeQqrJGAU0LSQ9roL3VtOByiL+tM3W+D2IAzMZCrOwajVlw/N/QdxkwlsV+b8EB86Wm6kq6QlLbXHO8BqG/XA55gAeTIADTmcVwdUxMss+bFypSj4VCR+mqQCwuTe6UpqN61ln+vRL8mXVgeVlldj0W0MprHq7xCjHy7l3igDhIpb643jxpDf9snsn8/x2+43nukD7BWqC0eGLJ3+LhzcK/25XpZCHaLgEOZmE9kUKECqPiHsJp7iJ1Ok/Jv9nfCTyScjfd3aKq5+3p6J/PnoKu79UwG3LuXhYHhqvQwnF7vMyyOuKKwQyJnOCEEF+AnGLKBkOF+z4k6Gm+PXq2Z+lXQJ+3bjQoUijCIIKezg51otL0KDvgmJvNOlP4NhbewOvSXPNzg6X0PxJRH7UF7vpP+HKXkOXahEkYu7yNXDph5ilZivvIEKNN1pd+FcRTv+8++CUAOKZL87x7GhlyJ63N1noaNH2RnyDtKPThRpc7lAq9w/XS3qDmsneqhmI2LJMrvJaCzF6RAK8qArejQsC6ZBiN+2hnLebLQRxXbiveKnKW+n5jWP//CZL2JnQFRfY+AI+e2naMas+TfvNRG5lHVtzb87LqDhWiLmTBnOYhBxwwbj9g0R3d6iy1iM/3Fld5KypPLl/BsHxFqKt3EDeSfe+XKvzcbJcc0OoGbzMGgm2I1Lm4oBmvDc+wledH/UG03w//+Q482zfgXAzFwsvIdjy26QF1UaHSoqnCqzoPg2XLXtdm9Ajf3QMxhhfB25rcSuZyZiNi6IFcUMwZQHx5gFQGh7mxo3sUDVQA+BPQextyVxHoOtNIHcg1xDosvIemDui9aV8S1A1Yx1f3xnedpX4HlTtAbksob0eeKm740cTGpCx0Ev4k81J0oRjr6WcjxXkwDkEm7koehI0iwkFklsnzGD7o74/ilxGzfJt9KBWCRaO4grhVbS2BqD4UJLoEF+gTxsEXItCOX2NAL+CwgPjGapnkhMaK/yZczhP29qgGf+g1hI2BUgIPuSZMXfq3p6FDlUIfBM7QrKdrKwj2THZtJmyf/pZnOMLntlwyRlbX86yw9oLdoFa+mGvBnXtnB+cjJ8n5qIuWQMGzYA+D//pEbkm44hB30YUzqlUJIWFZHI8seSSj2Y+inRJAXYKlZ32bA5zI2B1X4P+j6cQk3USOKqp9F4FKr+XSgyPtfxET3kYcPSMCKa0njFXB3+KEfennzmVP+0vFqiJU8FczhYGt8UUFbpfNcV7RdaXZipC5vr9w0vxmuKjGmW9Cs2+aWgCw0h39sc4OLUYvBDcRE+QkEex3VDmPos6XIROGioL4WoPdUugJTWRjFfx45qnIg8dYoiCv4eN3PPmBhi3cpqpyYIb+x0QRIexmFhNIIpBO437pn67G5E52ZhK4nFKz0bQwwBKKvw2JeyqBXHaKsvd+MNzFaHMhKHF4Yb/yIAqfFsgauFITdFKezQ0V/XCORxVGGwG+/tZIAIXb4Bk62HhsYgEWpQjoJBnLnIhJv7PKYS4xkvqvmG9Km4T4LBqh/K7l+2UQv5q5xYvwVnWbSBPmZGzSKwaJx5/b83GiJyGltXwNiXrJ2vXik8I8gR6X21dC1g8KnEiuJ+INxwgd50teQAHJ7HuOf7DfHWbrKo60gllYl1A9dCBdIc98r7JBpJDYse2NHT5W0wC1OM50AKYM44CFdMysLc/GYxaOTyh+ZHw2XiYMVZz37Vfvf9grCaCZKyJ2wINXMb0zLh6ROFz+qI/kM6IIlSVRVT3S6K0ODCfWGXCQ4XnQKGxRMSeTgRO6aShpuXviuGRg1hpNgRXXozJBzuuSJAnOl5715b0yawhdj1IFBeLigKLKTrZuNYYh+KXP4fxi/WX0cD3W9JvAaKH9T/xyDL6fLTprw5n4aEecbj3EV8LBGHUJESygHACnust1JtOT9O83VPJu0wriLQhu2fj8WvyRLfsW2RxpxZi+cNngt8ajqD8W5Sz/9nT46EVqz0DaFeXPwRQ8h5UWy8EdxwoPaI8Bxak7Ncf1Y08tZwJGbFliAfFgDgBhMR5A1Ws8YoiHrsdNCmaYqQ3NPQgJFfc5e7kHB2M0i9u3HtB7evmTNiIgWNQ7f7HkWHc9fcbtDx+mgVTfSQ+ENeQglOvu/PjK0oJP/ssgV6yZDLkY26s/T6nc38pZ6A/dpoZHB8QRygnO9Vn6mDSlAnUNBe2zWozKFlQA6cbD1c8N3LBr3ZlwbNvk9K12Vi1fHgG0fdYUrPjBsKUoZ7iEdGMA6+sQWdYj9eyiaZz9SX3IMHj6/bz0/m/EcA/Q8ILR9ZZltqT85nSkMIm7ppyCG/C49U0tLpNmbI4Njy+siJYF824RS2IWPZz6Q==">
            <a:extLst>
              <a:ext uri="{FF2B5EF4-FFF2-40B4-BE49-F238E27FC236}">
                <a16:creationId xmlns:a16="http://schemas.microsoft.com/office/drawing/2014/main" id="{E1264BB2-7764-1406-21C6-671EEA186B18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3166" y="2566035"/>
            <a:ext cx="5492562" cy="3754755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Rectangle 3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njXUBWemRjAOozn/HmCP9ikBFEj1B7g0OllzXFdy5vf01Z4gCqmgDe+Kyi7PMBnmA7x8w2zuCiEXztiDmIzH+jkD75cz0RVtfbg4l/fDPTtaih/sMJVQg1AFRXOMfOoweKj4zbCHt+M3Xbk15QRt8/N/gj+8FjcpdE+YuOKnBgBnkAjlN7qe+8C+Mtbipgq1jjWCtx5zmANzB0iAuYHHUOZ7AHDE4N2ULC9nPWxAi/1B/feHj8zErYDN10pN4CJRsYhJFsmjwoWhQd8fUDZe6DPurZUtXmkykNMI4gbbbtkn8XRkaGuAllduJp6Fa2rUTo1x7wWp5wFXWC2C1ZK2gNFFQp7vix6NxM+o0LmyVpgqVUantCd+jp/336VDILfvxyQaRmREKnqKesDIZ5+WCfplBnIcVAw4Q7V07k1Dvbd+l2+oTMLOaUcDmLh+Gpov39/LNTMexFzGyhQmMzuVGKZd29Rv2bK3dYkCkP8ZP26iwJjT3K/RZpVQNwGhqjYzVFV4d46YzS+lXFvV2NrOPy84BcKwQTQge41TQ383T9hwABo/WqOjB3GJChPnDC3nOwnL62FWdcX4TzqgG4dfwxB27//OiH/YJsYYkFTo566u3+QzuRGwGNrSlbRGCdoA7efA39yQijeXyCI/lUNs72CmDQn4Z7URbp1g4NsofGd2lIDjub7py93uhjOtogl5HOAHlpRp79gMfguyGpC6SGl95lYMygmAbXq5kVRZQpudUknYMvGQTzjR0oRGO+NfUNJ8QWmyMJ6bcfHbP4MKXHOPnwGevNKhcfTISihKRdN9H+2w/SHMTHOMYFgV4EpnLxrJkxxkCDq44FA+3l9Lyuodu0qz+nqs+TmDzpsvhtObpSt/KGFxPe6IqxwxtkcXLXz2zdqs6huPZ4TyzgKgHgOzad3M4gFVYc+E5T+kZ3WbrOpJYrh4QJHND+thO9LQrLLUXTvW5OGgTQ8GXafbRqH0N68iaQ+ehGFgQ0KPzvYdq4+3h8owuCVoL2zMQGkTg0wvM6fPah+9mkARDyfC+8Y+hFxclh8wRycsapEz4znjm3kfmfrS0B2i8/LANJXw3WaGLLxy7L0JCZYR6siSuf5zCdwjfjSUnY/xS3p4lxDxoHtbROz4rUJ+a6Gho7v87egWom5Rp8IyqwhUuaFCiP3JNKWEyL9cj21fyawRfA1IweIPHFWOVHdXiqkAj9HAN1+A94/d5OYX2dODDpHptbyPXnan9Yw86udfuDsd/5FppBSx6j0Z+TFrbJdYFp7zJYabTDqzfYe/AD4/HnytnCpN8MUk1QyeMuWUwJOnaQGLVvMIpa0+87ahVoTISxOKMbNSKuGLSNGmGnEGIqNNLswoFl5eYBOO8rqMo40G7GXVBu5vTA/3xXHLWgikri6TM7qw66WpwEMQBVIqeqNrUaooWwiix9jZSskJI/et425NbgSTPNtTtjw7ad7aLgqi/VkpvWbewM5bnfv8u0kQgDzhUKgm6KIdom3qkIRDnGhFf3DnUb0Gc7ndew41gTdOLr4RYzLdAfVc5CHIDRoscYBeL+6HPbWSxPiBR2O8gR37d/Y9DzpoHfxmF9jW90M6xtUGEmsl8rYLZjoH0DTJxRle53OTDgFisiuLVjJZhtCmIzGhxedYP985qFRjiDkG4WY3nDrF758HClWM11UAuyfIWL5zB7ZVCYwjATjJifEyxLpTBEWT5ox0/inttckXUU1yRvE/j9R5FkgkoE1/Vz84P8xut3VBh+FutnOyzqmxwl3kUumYVwTsF25zy7Q/OODMkdTkxhbMNnWdDBvE1Fy+dwhpcA+Ycdy05iRftvF0a0kCsuWAKcCX+49PuiTcxCa3R3luz/5fGT15WJqOSFB+2O/0L3VeDf9HShrKvEpM6uWhYncfMn+xxBsAf9YcMBfq1FDGhBEt8QmMWTkzVo0Lda86Nw3ytium/4UOwReo2t4rB6sU+7MeDmsni90YgMduR4jD2ucoPNQN1A70Qolk52tDjahsXIouT2yrHuD9ST8Oi3EMNILLq+d1mnrl7reagovPuUkZL9KCN+fHSQQF9nx4XZJHa/EmC3ibvVZkaqRNI1O4G3/Q+EEqUAp99Ql1IF91Di8V0xh+bbv9HbIfy2EYbVUlDiUHG6QleLgyQrJZeQgYWKXh4LeEpBpVpgCuieRVZ9JinJ6Mm5DAE/LyT7oxPkqVm4KJ1PmXfDw/GohnJydC2eh/If7NHPABuP4l1YkvmotCYXWjt4aA9a9NSoiaQxbcFyVwRMl7BOfJcGJ/5Ns994FlvmpOXSEfwGVVnYsaVfdH5HLMFGVZRj9RBbcQ/ciA31DMWueNXBZAg3CwkJU+/mwJ4B2RlRgEXr1s2g5nJ4oSCilt+S23PQszbdfL+YlQfJqeJne/EUXI9y5JIDpPg62Qe6fnPEAYXACLKH8L4Yi+Iq52YaSzs4O362asL76rS18oAWvN2ZMzElJcGx4gCkHbi+nghE2wxe747X1BWTf0zKBF/DNrrUYVCyN8uZvayJVmhX0XzEVEkiimHclbsKw9tn4ecd8WBB/yFe48YPP8AS55nY+JeaOrIxGYhmV/5BN9Ysr/4Ff86K6jxlkhgseI3XrSjog4RzXyC6OcdmZWBF6TCQoECb6JSKMBDzbleP4/7X53n98ygXQ4QU0MbyZkro7I/4+UC2SsBloK5LYr9le1ZfwVRGpVJmPPadAW4tBGpFCpr2G18QFm0Ax7iA9NQDR5flstUvUYy13d4Vx9GFLMSkjArsFPrHMuRWg3bMsC0Nhx8RX9AmsRIB2IOpqNaCpQlC+vb1IcEiuvWvtXGr42a/oR/rHWEeXhQO2yk3Fe2GR4qYLJhEznYWm4SZzRF7+2jCDdc2XUhyVuiCLT3uOL2jddgqgKvRdXHvPL42uGjUiBUUWO75dV/tkNGk+waqsDW2srE7oFnOGmmj964QeoMD+YVLBfgIQTGKogELJFK0mCOtUkz4vkvPyo24XXTo014hFV7ZXnvq6I1HhU/mxroKMe4odBSkC/pzlKdiybO8s9D4XHieI2AKlJzUFsGbYNUPo6ymR7+BUt1LUVS5t5EvBQaf7HRcTFc+wid4O7/PfbZiRCR7UGCJWSS9mrfj7iKOeC69R7zz5c3awZsIEqqyeIEwPGdz//oSx4Aliao7MQshr/ZTbA8GL2SILGuQxHrMxQkUhIQMmFcuGrdJo8SYDdDO7E6ox1QW4SDoHzc9dfopsXxwzTmfeS9QocbAwGXEn0Ky7s711ZH0nbgzTSYJFzO90MNhu7D+sV6v+zS/ed5Gn3opIett58XJqS+wAXPCBEpLRzl2Ct4U1kGJLVDoUxYbXhkqTJ0g57HWZRT6oPCtPb6uF991R12EDJgBPVAoWn3qrO62EDNS72DLDRw7lYs4MbdBs6Vlvf32eSEq4fniIkPqfwZGItvt0XqyEO2IXTeBg8V3MzFWMBIaFcqWbsg9US5BYy0VUquTjODMEcCNxOPQ3Kk329wklWli1WUsRmIFEs57VpPv8vpoTzlTye/CSNln8Gk38AQhpE1nc3k7AcN8avgcvf+PmcL0Zs8Y5yrHqjzD6A8EP2kcyn3p6njzooo9V8t6zWeQsFTkHrQ0HipI7lIPankHIA6hcQ63gzk1nbs6wgIOd004H5IxoTISjeOgkIkimdi/qhBO9r3Xb5TwDPWf37sI3lXMhDeo4UnQnJv+FjW2WnPXnE9jpC7IywIHfMMf6eMODQcsh2hwHz8cZK5BbFpNeHl5fwv1JfZiB6FhiwaaXKZfmxK7l10S6ETb/o+d35Yqw+FIOObUxrHYH6QT05HToO85aqhd5V3ay3FiFXDTNDnQbhileQtP1kn+8KRoyTfISCYz43hl9jI218aypwFhJDwNcfbGJqcHJTTx8E6HiLDNJg3hBexihGRtP1q7Nb4quG/19lmgQJnrsEQsQsGZeVbKUnE0fmUJzTQM/x453DN2rK+muD0pR9EiqxZfzmiCtAQcmKeZzTSm89gztxAwQUDmfwgyoxeNqCONcaPb24LiUPWyEmclZbeTtACMILvLxuR9lVllu68Vb9UBLbUOGx76Q16VsXvhy7vkZXEIJN9fF5S6x14H6rmiODhFdqEymmqVINhvHuV3gNAv4vrumuCi4BQj/xpKrZVmSpnnUi69aKJMjxJkDAFGnqCEPkD8OlEIU6vlOw6pGBoMGNHxWu67wwXe4+N35i3SgT/ajGWb1PUQ393DdA2rB2hxh+ucnA0OLIDgN9EjYT2ijb3GmmOhfnIMJhbzgq2M51/4dOAydnz3tbF8P/X8xRdVw1IAjSMWelxVydpcwIyc02B8F62vOwzTNLl3IF70Z14fMnjvJJcj93O9Cok31rZwnBtLX9QF3svJ55Bp5N4ZoM+jomP5jeZyXxxnEKFaAnMUUdtxdBEl9D3r/5WD4T+cZTy4oro94wswfpj+UUP+2OLwWV/pDgH6yxN7Tur38u/xGVDMWfrlUseWxZZBvAc7g9Yz+JrjlH1SO+zTw08bIZlTFJY1zFVltn328+CeTYJu+XybXQtU5Y3aU5S5FCOrC1VZRumrAtZ2E7IpgkWqC42e9ozyxvlu5fl0iTc8yG5oiEhKoA2FvrzgzbrFk9ztc+NgeXfAFKb00vFVOhqWlmzzEjmcN23Jq0k66st6d48aLLFhDym1MwKAPu4/SSTvkLq1CNy1/mUAXx4eMTOz+2nlO0Ixs8m+wn2nMK2dNsQ5tw3cod3lXgHERuNvhMmZA4XIHCRxJrfLcHDdTDHCywE2mfzyoEvuAQ/lDX9pPpMA8V44NbLv9AXGOHgrWMlE7NXLJlXfDr8AKnaVyXJPZLisWvdMR1GcmYeoCFaTXPlEKmN1H9SHQaFJJjlA++5LXPy/cYWV2NBYt01YVQxbDb3DL3+bCXLApVNIKpIVi1wK9hxc6frezooraYF25uXkIWYhHHidekXJHdAROBO408k6IjU4/bt+T+LXNjtemIdv3LEdf5oDtYV69hUUrIOL1ujSnM5UbhXciHU6uuJHj/3xDf/3V+Ky4bDa7BnYHj037HWX/S7Q0fHz17dfdpsyhFxZR3oPW2yiB+KpR41xY79yt5tsEY3J7PubPrOcYFJIY5kW0wdqhhN48J9CNZSj3ilgNtivl7d7MAhkTWSi7SOOgmM6l1klO/eje+Ge1e+K3SrmWIcJTovzy02rAxKnUm7ON9IsF52FePxKwz9sz/4B+u8aZI0Nw6OPBaszgdw1fcVyVKQ9yfLHwGzItHgvRv1oCdKZ6/sKJF2cOHjleWpJLAYnVMJNQL0fKGpzY1s89jEsoEuGgKxp9qYMgrkoOYbXxVYS+5CAKRp6MYF4cdLsoHbmkMULHG5JkxwDbMqt4k2wvlfAu0rVIP3Ch2kZ2P0qzGXtiTNkh0SZLrSj7ivSkFH4ZSGQMFm0r0j8NRobQmohSETMWGu5g0ivjtmD/UF/pCSYP2m3+hhe7OI2nV5hvFiwFH9+G+TxdqMZb+tOaCLaezMQg6gSf/GVN3uh4UM4WDYs9GSSA2RQhovK31jcVrEomkasY6+u8Veet8rGTmOF7mfJXphHVmjK8VcvPb3G02PsUf3q2FjctXteq8isg1JY9WVJ5KbL+SUX1ojgXX40qoEmKvbekGB0qvwOprDIGpbJeygbeBqxgwRlXPkUYo92ae5frJYFaLzt/zvcggso4ReP5YKbIF0IJIue01Y7k6ljj0e4OZZI9nurLoyFH7M/ePwdZP+y0Vw2y0AZCO/J6mYLXRtbgGYVeV5/t0ykfZJ2fLBXCT9SoGkHeF+yUNyTYLqsQ3qlPg0XZER5uaN8fCET953MSbBE/lf6xTI0uNpMGo2uK/u8qlxrKE+NGniS2XhCfRxa3Y7j03Jp5czpFQH4s7GWAEkK0jbM6E6qMxQB9xcfnRUXz1r7E0NW/sPepA6d4GOdIun0oBv1jgQPndEZzS3Y2FPKHzIAhWA2KUKVyaKxgEcI/Ym0vvR4I4AtBQX9FHgEcA8aDRWyph3LJwCpFZjb1FeviTHdSXYvsGuCHOSK7giZBJroLsbKLJofTLgzfFP0PQOMSDtiBgjrrHl1yg8nL5OjiiZweJl+x41fRLolnaIXjLGZncGY2XBunQsu2RKTNjTJCBIARaerwfi3VizCnOBAjUqI4DMiLdvZ2q4p5GHwhqFSYXcVD2Px3vDw6U83spmyiMyVE6jVXEUvQu0D3KAQL4hr7HvPlle+HmpxftloUoCPTNwIG14v+wD6UDFPFzSHv/EMPiJ7Gb5SiSCru3B5gSE3ikJxVKNPis/yP3EVqTd84W8PIOM7vqQS4RGxkhVdwKqs9qJaMChV/kbEI8e6ZDUjd/vGk5nC2za6q5/TNVjlgNzwnLO8uVmy0n2iyq7wMKp36HGd1kg96gIaTUCND4qDBrLiKJawuB+IKgx8ftKePORR+jF3CJ9AvIdWI2cdgnS+QPO9H81vw/XlN3IA4h0//j8avnkAKmeMy2Ex3OfzS7Ida1OksQQ4EUDMFpypCZe3HDOFqBLwLa7sjotJOyVmc2ws/AjkUuhakTJqtB2VH+ORXl9TDaWdb8fNWCVTnlqvgUJve/sSE7/fMAHMqBDRodf+VOmntsjpIh1PxQa4ZfPW9ZKu9fu2LUUu5yB1Pw/aVL49o8vefJEtns6G7ftUtWCFiObJHVuq3Z3A4RSk+8dJFalYvAKlbIgzZ5iIVJkWUHRH3GOcUQKGK68UUjLbJDfJLUXqjohjuDYNELtI5HOY0aWDewiNOEhzsq6lDsvodGMcot2w2NmEsiHI2d+oIbHVf1GdpNbvt5YJTwYfXi7p50v8ATtzolVTdRyNjkjkLLkuNSjdAWvALv+aZqrYHUdO65TEVc+5BvdHG6aik81YBlgXAWBeNZOKptpXVpRCutqG7oUfCgIiCtVJ1TbyOBbP1lkgldIeSxzK4vLzXS+jE7PpMdFfbjnl1oOh+oHWNihwIDSlTO6yPZ/ubCBXQsroqunj8Ur3UEW+sb7Sfwz69u78/e4OVBQ5wijOK0O+6r6xTCz8ICNLxSVSd9ucBWY8jL5oWt37n/5TE0WX3uWiz7tJpI1z1VJGnK0k0FB2pYQszYAl430aPkIMZJdt7HrZXabYFHlqtTZ4/+BZ6ghCVN0aHoTe4ETzi8aFo5d3iXSOMkmlRcXqftQnXmZkd/qT/p3VMIq/RdCRuu+iQt7cBcgjm5V4UOetTbCheN0pejgz3RvTRNlsEFb1h9BDohEbO8p6FyuzuLl2hMnVBdI0+U6y4LYnTaYmwITT3H5hdV2gc5jI4xp7PBcS+ZFZ4NEJYyMC1H8QCPtRpd28eVzGzVxTb/UuNeuRRfGolMzh3aW9uajCGfvYTembjdPsf7ynFeN5jxJrbLmTwMvamwlKkPDP9StKDryw8SsN8A8PlMtgcBIu9gQbqJ74ws14FbiASr1kMqkjPJLBxnVM2rNJr0VAr/P3RWrvDZGgReqtSl/p19a9MuWg/tjcQ2oaQxtCRQngpYyA+e0I00FHIqJ/4Ig1G8bpUNSZdr5mghbDahDYHAVMb0fgDWHgEF7CyA9VousvOf2ZNbIq3c29K7OjKXPCj9ZA6cbopwNkK4+fqgfaf3raJsRJHe6hYIUsNeP8ygtq/0uBNHRr1KmFhn26k7piYl/dQ8uKjNNCpGKhxz2V+MIMV8wJcbAc9Fqgcc6VWnoa/Guz99cLMRte/qYoepA1LzniePWHsRg5pN5ogK3Gc3OtjEUjiFuMCAytey7KeTrpvvNBdjWeB1lxTzS847Hx79jGoWSwDWUyLqI+f88+XMNgLCieoGLvOojyMxubVHPjbJIF+ZZSykpIV1ePoDJeZZCpdJLpuc4sN7AYNAIIVSYALnDgQxNGDO3hmJJ3wcGKhql9WYNnlqJO6loFlS8D6nMms3ZvfuIFMbdcFAwaXFarFhB/NGZDeej9fQNLI19t5D9xv7rxFBgN7l6vQmbluUIs1yoiHur0PwwmX09+zb+lYkYpza5Vc9kVYpZSjdrS5jZdB6sWp0ePhZoeYpA6xziElCj3ohCeqlnOKTC5d4rdGb/9S0OV+ddk+DZFiY8boVoBY3vBt1CKuLVX2TnhQuv932OL+/c+4MtAcHiYoHTpxhyxYMtOxrnzWuBEfxu3+5+r2erm1IK9dNkQ8U2R8gItsM9ZSDYfj8rt8OrpUc0rI7O87nOKsi7bHh7FJBAVtPIP1IzAukqKJcdPosD5yA7kICAVCHJCHVBLGlrg3ncUxicwLGvfsC/k/78h2+0frq40qOUkgpxl11XX5akfAKgVGu4F9F/uGBn/eO3QEh4ZEsN/eF+EaiTzOEklktzI0GVgmYSEd2kGiPAhMun3WZ1i1lysCJYFT0Yfiu9AkTvw/tZfSifTURLF/ib74ubXs9mslSUynrwaf5GPMpMeTPJpHT7wbiSTqlJQz0I/9fPs1wqyZcYENwtUggKwELvxOPHSUwMwaeZjkC7QEOYK97nkvP68U9ESp1wKXNGm++CVfOMLztJMk+3Clu9VGZEPHuFzKl1w5c1+x1xlfvK34hBtk7Ukpr/igXuEHvzsCmlpPgGBj9nKByxamjl6EDYmY0p5Ekd49JQBM6BLvt04cSQ3t7UkNf54S0vvpkdRtwY4OyOaKPL9PAKD27iObS0ZyR4uEEZLpQjjBAiw2qOl9hu1BWJFl/aLXS8YdcxLc8DkZspAtLruL3mRM1yOliY6/W4Fe/CuuCFzTa7XQlhXjwXLrJu1FJoGRzLaTSZw8A0BtdPovvo6tp+JbcvRm5e9iom/oQ0B70kMISVSeWA5V+ewm2ic+oWzIfcujwokZDOVKYm0YML54ZaoI8xbll8VeQUDnfYuB1+joBcysZa2c8Pk1M83vtLtCzsU50ADyGn7+Co2cYH+/fEWD2/i0G/WfHcFzlym/UCU86Td7vIcXhMvgJ9mItOasAA+K9rvTXfrmpnoAgG7I42nBAwZssSFzQPeLbQRwLDlrP/LNPDj/x43PXmO3utS85tS+Vh3NmdVtIi+iUS+oBXiMZA+nPKHQAutfAzM6/m2x+UgvXtpYI1tUjZJ7bV3g0rUjnAyy/MQvLIT24w5jymkawvpXHKX52/p27WxeVLylxKhFSz39pKj6nCAqA2jqzHEOlu3sLcDusoo6Sv3Qv7SGArhYPEj9AvEEM9ZMyQGjwiAZqqgqBNtbh2jlR18xbyTa4sZGIik1TCHx8nz+PuZaqJC2qZOYZjpnCExN4Q6HuJVsIgS4244KP+wW1XT95lQHst5P+6On9kp0zOp8atgorYrudiqLUDgyP/41cw2MrTkcrs3bRXVSqyKFnNHea9GjZKDP7IU47VaRMRFTLoP4HZ8m65KzXwxsQYgCII3l+T4JDLQCBDUxPJUlM9cnyPIHkuI1DeHpGNfkoXqEmE9uy161IKRdrZe2yiiG9Nho6/c9wYYEwDjANgcHpLDB98RXsl/uUyVhxBeMHNDg+5ivlQU4RAqijEybxDYI8xyGlJgJ31jRRdMgEGBiID3fp2yJ5862kxuWQDYgomaamPZPvo4yuochCUu/5F89p0OyNXcP0uyjsZRVJwJmNgVbIzcyKOwJyUi+p/dWUpid+RgwbI3bPB9/RcYxavg9D0OiCiRREuIx0vE0OCbe+Mr2O9XaFM3L2ggN7/nVHldq8anGGOKlUf3J6BOmaGD0bzFLELhwSJP/gtUbznZ5QnjgGNVU6XX2dBvpKEYzelGogiclTUYOKk/4UYFtDsx1Wec+HI2QT+f54UPMPMa7C0XN0G/84wz7xlKoz+ggUB18cNtcylTcE7a6xT5xu+QQWlNJYxpqYVaKjKHAluNDAV4b0cv1nVJT6pfO5UIxg0Ov4lvur2ieJrj+L4hpnQrhs6OqNDqbPghe1iRJUI3o0IOISc6MBnKC1SuUezugxpWwR8kdBT+FhQ6/q+C4yE+hPies2FvZX5mbe1V3Ch0VpYiVKdW0/1VM8G1MYglbWfvjr9YoXWouC7uENE6tH91Uae3MZeESXMTmNgcUx7RNinQakphLDXhc61pc+tbKpY+YfNXuwGZPNINqWySgFN5bRPtgEelGVkpBHhR5liGjBWdeUHbF9i6WSvJtHbrPlHzjuQBGQTAUc9R8p8m8h1J4qc8Mx7ZeXQ0/mKm04u5ey6PCSNeXuG86I6U32uWFJanHREK6ZjhN2JA25OGhsriqZ1hNjMm67h1iUsW69nJdJtVqzwj/jquHTXRs3hBINUCD7+gm1FyaB/TIZf3WVPMmy5WnHcDuzGrmwCbfaEgKhL4xwAkpa2dW+50opFcA+/3wsmH8HHCq1nUNuBnl6chvQLlY7V6YfHX02m6WAfi5chFeFqQODYpaAxEAJgd40xcoPSorqQLThr8oeVdD1eBD6CRIJiHiB6E+gpuNiDs0RqnBNcgyNLhhHU63dS9vrvrlA+wGADYgz3sRpSxlKi6ow1v0pI90FZo1VjjkukeDfbBdwFNTGGlJ1Q/rxImnLdCbARy/m1OiWSzF/BamPjcATUpyPx3Hk/IthwzhG+qBTTD+D3Zjn8YVgEwwoDDmxMV77kh8MH+5WdVqmfyTF2uP1iJzbSGzltiSNEFbnCTA7o4AjL3LOFre1uN1gV8X5ubKBtHrKpdDhd3ao1T+MYYZbRS4cOGz1Wp/P5OHmpl4J8VtIfdX8YrgZkFpx2XY/xOQ9LuJiuxe6pDPrKYleFH8uB3+7vHRN2bZ6DEGWTjnHNPab2JGwNFcmSUvn47IXhsCMYQmBaOAdwDUfRnirSkVkMYYJ1jNhz93UwUbnLo3SFpltXVDBDgOa99kqfNb1uRsHgPr6ReHqVXqjBMYHFu4FfQflBjEk6/pBKbOZ1H7x5Q/8ULs7b8o6ECF5jPRstNmGXKjVcRRpteZPo0VNQfF3cEoQoAnVjuhC7J4IEGgTyVj6G6TNzOweWe1+cLLEm61d7Uw1yThLllp1Nli8WH2V0ihXzwR03pKRavfxsPMO4A5kWKCidYgQb6L26x11XbfHzHIHNvj24stQc0p5TNxINSVAZjIQn/CRps3GEIe+Qiiu0GsjjEoagivRsP2zNdF1YQ199eCFf8LjTAK6c8u69jXhigTUI7Sruao1KD3kB4Zw+N0ge457ThEyopG+dfdmASXTbFxf+7Ax2MqJTv0nPEyGnwnKxXcuk7tMBP07V4+JgIzQoziVn2uQtmFjeXvoI5sGgRvH2GoYtBDqpoh0nRV3sDf5zVwGz1Ws1EwfGRwEIm8e5mBNbCWSn7Pub7g3DKPlRgbCycuEVWjJs7CDQT9ZpTuKTt+yL2cs8Tp9apG297ehuNyiT5OJmEMpMv3PdpPVHpFcsMtlt1igbIc3Ab0dG076bvPQUUB1K5aJRyWKvm/o2D8q6ZuadaGoMb5v0ktIu9QHJouVm5KKGTxsd4oCFXw3AD88KZFsp7n6uluVPqwTl2ChWhlmpP5CW5QIPcYSxsEkKQdML/ZuJt9C9Rsz9r+EXoBORHtW7qXq60OqM008+b+cYjYZfv2rV1WqVko0ootif5Rd8UIDGBUwyB3+/A2gOnVi6tilUEPIvVsw2lxkzJryvDykLJxef+mkYqlJpnHtiaOh9XOkEKn4mA/ip1LO+rY2b2hm8f9SCNwBsKbCw0pe54MXf/TUqvqoFhNCIHzyBqLufayPIfQeeXsxnT4TO22hH+wpx2xAj6H/sW9f7PA7KjKLIAJk+xFF6OKjOPVSsL2wCPekJyuDRWeW2/W8JJfJtBeK+VBWc2fmqxaz56l6ppmSNmnsllyoFPk//NUY9ZP4yF0I2t488MScZ68RexXh0tX5FwZINksHi2unZvWVvgcz8zprDGOdroAtwR52e7PNblf585QfJIXZoa1VmWzhbReQLFfrUJZpiUuAnaNii6p44cndY8K1IFSZivN4sOFXkSkemI2HBNAIAkkzi/LhIstd7M2dqirX7oWddN7jWwDOXMqBCUDGqZvynR93NCgxPVfrU9K8MxO0xB6g+EcFTSTNP/i4apScVOOxGMcwwv39KKxyaCOftwl1jSA7L1zoE41z1zd4Rf1Z8lR9S6anYnJIg7n4Yh6x0RuG/fM5aMRubYAmEiQKAQYd5plYos2ns3vffOslgs1Uu1kd2UF9MibHv65H7O+BjrwjrH98laHcmMpYoOeGa8wsduozGb5XQpTmky5zITGsn0uqbC2bCv44WRdp3c6UVdN/Pj+hcTOW8ZSPm0729PHblgt4/gUTradANKZsClzjSmWAAnLN3ZIM9QyUOP5qhJWJaEmZrybnvAThojZIFE+X1tOSGiyn7wQY24myQANUu2lFONEgGmi6yDRvAxD1qu8qbc9nAyxedOd9rq3NHP6WA+Cml0Bv/rEf/VeNVKhlrmvs5dpJrI5D5WCs3GcuYGYdcrb72KQap3wQNgJRP71mAoOlGQV/t/M90/ViTGjynRitZQT+2ECl25RgdQw/KD/VQu4J93Khv+VGYICmxLoETkspubznnza3P0BWJzSpZN1tkASSHKHjbycJLHPiUx28yWXWZbm8A/SIPvjYgKMHqbnQ2C3MT3XwWq0UOk/mJdHrvGx9yn7heKkfkGhv+syUi+r8X4yegt9U5xfzgvRoEk3J0Byr4DWwyHhNYkxHyAXqbvP3sSagHoHwhlSrBCs2KG9okfKf8bKuCdoDEmqgrAxOGzWbhZTnovs9TqK8gFcWPNIRHUStOiMeoa9yCHbQ8hKl0v0HsKa644yoTuuWV4l08kL5nE94Ab3If1WniEUSnJg7lhT34P1czYafyFoAE8jJ/8dwTLZpx46FZ2og9mhPbbr+G3fNiw3USGenBViBpg/pybrlQr1MlTMqjrDoWLaZXL2otCjCWdH5SkHszM82AK0fQgqPpLZWsbvNkDofsvzqwUkR7ZKaqP4o8Vm7RQFbBYi1WU0RLwhBcWieamY7l/Q43nKMW8f/ediwMiPo9dD32swnk/SwNc3Ga6O5H35De5yzfyppi2bN7jNNCwhy309/UalqdzlkrEKSEPoUhPhClevNBNwVzYCeO86MeHF3NFYmlSpMcmJwskNc7hiq/T4+k54nSE7BOGKL98eVXbj58o8o9OBvMJVX8cVF1r5go9s5GQj7C6HBcIpdF4sFGu+ErPzlQ8t3WLo6nrFcmpKIX2/4akdv3jCzkxxx095HtcVv6nLwda14NAYcMrtWBR5r7q4W+90LlzT9l9+w/50Lb10YtLDPdtS1E9WUme+keo/2WruW6saMDvmzvx1A1PaoptHWrJXpl0rzrQpKNSUCd6C2mcpAx01/InOYQN/LwSOIfqj4+BcQ+CI8a7lAo4h8kXYpOfDNb9EMCKNponMOEWVLXnMs03XEu0P7DjON4zoI2V7kEBGkVSG3/JMMICw/RBE/liElsVDtS19jk6xw5o7U0BnC9dm7aofV3IjMR1pvcMUz6Jq0HrBfOJj10J8ZIyplTBBSEm+RgDpVjtnPejHwpOIv0FUpX//8t7cOP81CxGtQ3O3RwMKH3ii0Oc+pAfWnauilIntH4lIi2XFws7E5qiMJ25pLkE5VRjYLezwyqw8gl2bg3/ViTkvzBBrqsFf3kDQM7hb6kWY6+gskxXoSbKNrOm1pNcp5HwVFHegdbwbT3KvHFN530t1/z/Gne5zjIVtqa7GgXn5P2p1yoUknz6+OFkaAwGrKsYvy5E14K7fjYlCGybJ6ZSxnQ9OygHjPt/8nDZ1LFqAfbcrH1RtGECHcO4FDrz8HtSHmtfJRoCbaTW2L9p8w+OvOu770hjkx2NeTN/UoXUMJnpiSHXFfJs9kAN9JeQ0Au3jrd2hL+zY1qUJveVsHuvO0mjlsYkRNdLCP/HIZZxIo+s7hU5u6lGQo2bMDA8aYTsc5HJzsF0OgTEo1L7rY/sDQS90sHxfpplTQ0YaJaW+npiDFHI70flO/Js8/7k7samIN4RpJgRWBEZBRgkBdTrvt71mtkQLzFpRV8sYXmH9raHC5tlVVWN5SrtPwvVvQsxDfOunD4l8MU3nw4QwgAh17i6ss/PGZMdVpeA9xhenbgOZJBUR5Vm3324ROaplUSXKyER7KcAt8BEh+VGUFqBHsAWmvF5OntQ4kodKIxgWs4nfuX3xblwkHc9NM4HFQrIgslTvt00BvaJ1f0Mcarw4YnhryU5siOh8LpNvsqTCTkT0oFBr+GbWBWA1crO1gVA04lf0grQ5q8lFE25qBH4QLwpqB15f+mm57AIWFla5huYZw9qMDiBewCpskc0cfm8qoAvEcV+hj5YY7VSwyIyygJufSLWdd4y6ao17iPlqD6dyIhCKYwdRjGoNROJUTWdare1eTuSK6gFIaz39DP8Jcm/X9mHlkDlsYrMD53qQ/McNlzKPcENzEXBjJ51lul8RJ2dzXaYT1wpJKhhv0ej7kmLg21RHWntb9QqYmoUXp+z1NnglZmFgZJ6y9hhb0JzDyjQ6vsyIlm+BtN8Bq2/9+q8s6H9Re0VGDC8lb96nJ4d/rXHDyMfbyV/8FYZM4Lsc3B46DMgiO24cOHSPIy5QXZB1qGDD4nqqTC57WkmTmaojgqXbT5zF2v8oSD9B6LRQtDFyeV5FM8WLt4pK7Mbto1B379uX0BYukqeOgKZyR22Y44ds4RhZ6N1yamOeqDsHsbZIzbceMtKiVI9dr/Q2bXp3WQNLSy5egDyv3S4hJVZKLTFU1dy5dexgPNWBjNepLGQGWt7KkxMixS4Zoeupg2M/hjYDsGkgA4GqZhYqT0pQUi6mlRn5m/yKZjJiEgoO7kb9K6VldUcf0EpF3zFpTPwPA7EVgjZPrYs0Uf83teDs39qWRLn6z3ezo9FVqpOsxcJZ8qFJTHjSbSFlaJRcY5ntZ0Xg3bXtsvF+qcxLShsrW08BeW5yX+cjrJonJTFF3A2LlnqWX0D33fLprUuqlpHma7VV52CsL8l/MT7wcs6vPOKoY64cXfTtkOZB3Z3psK0G+uFC5MsH4HosXerAv8v3CWKWaxStmqd4wE+hakG+SdD5f3ycEvvJ896rzl5cLt46yn6TLeO5nUATcQ0e7uJfD9hMhZMOQPNoycOT5LZ5cQIsA96w79zYTOLFHs4SNDKUqc2ibnhu3O+lcJfe/953QJOVGWU1J9WJi+RT9Obo1tzwNjGLa8pGSb3lynLJ+tY4a6if5PrCuzdaWR6HSHR/sq4LM7qYQSap4rbwRhCuJJ8ioozpTFAHxInZK1hGaNfsinnETMdi41vc1M8InRVx/08XSPWxW/BW/bXvD17yLFnORe8O3qzlDY6eabuRleot4gC/wBd2wB4Ac2Z5f4weAOj/Tdab+sb1X6e4wKm6UBd5x9SO0V94Xag9T9JG6yRrbDV+I9CPjHCAwXd9kc4rjlcy9tP6/U/qVBUjAj3FBzHX8ZuRmijb/vIaBuWJS5OQWO4nTSZHq4Lk92D8NJdzFX535xetz5mbnK638LlZ5PBAKw8PGJwoyU3boQSDCtXBf/aSXC01ijG0Wvy+D1CzUx7W0wcIb295cfU2QTlTtXreRYp+F+El0vngKxBgtQEk3JN8lTGfh/Qn4f+279VHDicyykhSywzyvR49j6fFETFCynUIBwpQ8RwJ3UeZ3V94P77w4TGu+qDsrnBDvmugOcb6QQlybibaosPuMMy7T0Z7+i67plrKipp1Jrkr/dhW+31xKMzES7g/4FjGa7mTGrtEV14brqa2LO0KlCW6/yYRy+HlqkKZX3Lbqj+cRH0VazKSDGv9z+V+Jjpsgt7dwY6JCY6YKEtRM6AXSw0Go7Qvz34HIiiGWGNSm1Ov8nNgkXKMWzTHTmHjwh9QN8dEZhH8ij0BtLaSreufu8+XprN4xa3dvS+Dpg7J9BwOXkO0JdqH9h+dZNDgAOeLDUrhedKVNrI/WymOVfRyNhPGGtKlPM73D8iptuFPfCJXOhDRbRXGQGG78O7CF0b4hnQVIu+W797wrnOAoIrTZw5jIFajyDDdarlqSWT1+toM31vj8qFhVhjrH1pzEgzGBpZ3AeuNIJfqCj3QvgJifGk5r7HaIMhUzwOHbx0otBJyy1Wv/1Ai0SwRYbWMufqB22ZCVhD6YgHZdVZ1NvouFrU8XguIZ8VxavZHrS6RrgRVyhH6lx3wHUrwphlFDtjd/ZBA0j06fEfpRPSH/HYUtilmiR7KLf8dJtMSDshaEv8Io5Bp+DunLVkJkNkaiMk/sok0WuTKjn/vnn/RLjhaNTbg/mcAJPa0I9NFSH6oenpZQSwam0Bz7GCisGBAo1IgyXavkCCiwNZ/ZV4yRoNrhRcLYzoj00T7anlwGLOeSMM0rmdUZQ+GWRyiJqloRjUMmThEWCUDBzKB5dkHgabkn/Q08nhtQ1NvPFKlOhKmNWdXJCArbfpNsh/MjoFiRpvSDPIKRzgNP0XYXexhTS8V1G83OhZzcfo/mekZcFlN8OZAZr9paEQYN8gKkbA5uxxd362P/TbUihcAtlSsT1QESbjFDpnIXAEO8cJJoA+oFrLWSF6B1y5m+Se6yvEZIiMbh2/LLnwXL6ICKtYZrDTvkc8JVXHAsCcJivdG7mTD2JI4XGc6q4hq3USVrmBu4I3uElnvb1qjkeG1mdNRcJ+xIcJIR1EZR+Y1xm9qzX883UnweNqnHkz5CknutQ6ckPmLBmlqs7jijSxfuTeGF8g7jdAmVWcZK3GcA2NzoLTikCi94R99Gbzjr2NUQqohLy92RbXFNMnYikwSWf1rp64g7JeUHVERGVHRlOiGe9M1EEyzZJ8JPtYeMQxAbAs8Au9VbygeMxhTa/dDl/lDPcskvKeX53JOTwW9jlL1mDJEUi6YNBTL4kQIbimDOwAsJOPyQ3K0fREKZ1uZDPJ9OemT3CfxPT+kueHGfEBxCQei/NF7vfVeWz5/31zUBmdX2ErFVV/ZsXK9yG5TdWEvIMQRHKbDCnoj/v80zHvS0rpXfR0ECjum97e+5j6xxirza++5h8JvsL51lob56iEJNGMU+U4/8Lv9zd1fINgbqV9ysTvZWiv0q/CnfJCgqJEHRN3kvosr2a7KCJzOwFj36KJ8fnNefnUbPXGZzrhbZ5Qr8meSwLTfL8qQ7r+2+r5LNOvL3qFNWSTgMrIRTT8Ock8QykATgmVGWRjjwb+ak7mQmbLlIuaUwNm1KP3Qzhz/Gh5ip8cmzTokg1yf8zSDUM4BDq5ZTqZ5MlTYp6+66GRLfYYw0IQ9KreVCw2qqqz8iXSBVk6z5ZbHus99CRc/s5JMicvjddzvTyF//DXYkkOX17duSby9U+qHXc3o/PQSxDSkvRiJiGjlGBAYWuNs7sNJAwj/lSbLlfD4EWI3/R7y+nLWTTTfjNGESqUddXl/h1NfzkHFaXKMLBWzCjoAevqGngVAglZVk3Fo0JfP4PD/1gcoRCEV0fAw7FtANkIxfc6PztT2J1BTWymdAAoq0zp7plgdd5z5cEpcfWdj1m9sKa5GXo01W8ZEH1420Ik5d6Whew/wlH5e8LP/6sBSY2GsR+J84T8y9Y/bn5JfLtcHg+LnvboDNQ/nWvBJtVf352Q50L2kH7k0vR5WHU65OEuHOfIbwDRzRDnp1uqumSHOGFYs+GLryFzzJQMqYC1CKEm4mKEF/YtCyDd++HPUdaTjC1qKiI7ExBnsoNlBgbsn3KM2EtkQj6oYj4lV+bhBxyPvuW/blZneNas9pwXmPN9dAxqAeP/zqDl0JwN8OOlU04/u0p66h/0Bbqh4RD9Cy2KqVfrfoMt8m/q4WJn0iwvNTvQZVgH9clpBBrkIguMDnRQPqtBmBJT2JQtkUHn7vO6i4dy6OLSYj6PG9hUnDwtlMjNIOJYkRm5NXBA2W5N7PtjJs6NB0z4fRsMzD0t1xBBYUOigIuWSPbDgpApDUoUtHgWI7emzherjlOhnLmBrXzV3LmJcHFDZRgxjzrqJzUhMyg8X79dRw4XJydCV3Hm+kxBAEcU20GYhg60TK0dc55bR3DLWkHyzuJNhjQibqyO4dDGME9V1P27Gd2yz1P061AlHjT7FlWr2Vm76mUrHLYQxta2GJHgTtjeCBxfi6sfDW9AKImH6dlerRwBlVyvpq4b7M8IoVrXwBAVjslKpF0WT+arQv4Y6m1yoRQCZPzSvqX+mp8/cZqqTsKfmfgtem7O4uQ5rpWvv8SHquvgj1AhSuFmCwyHbOSC4+eTaBDD89krWjTsSyLq+0yLI7GFH/TApB9RC5egpBjN0bVURaYDRFO41nOMiJMlB3cFNH+ixEd0UMY9BTmXeY+qFysafOkL8ybzfGmQsSgTurUxn/IH9Xxnrq2klgkL+X/kcCG/M7ql+4cnmr5jJRbQcpr+TJIqlZw5uKhzIjFBuIxpmfAgXst1nfn0yruwIT/YxrUkmV9KOcNGZSFmMiXBcpzKxqrwPBCaDncji88hOVjWcEjhvNJaafq3f7PSP+6vn1841wkz0hFPfM+6TIzlL8pQ8efevurI3CW8iV8ME+ecILm7A0Wc7u7pbRvxvHRmMhaSLKbgnYSupaNobqnlwI4x6bI5Hfym03lZzh6YyYZl+uQDZvV84z2h05BRoJqGz0k5gkoWGto2CY5INd6l4PYw0QdcbpBAwmC0LoaGeq7fargUj1Sndb4fSayLMaqYAqagzd2zx2ZQN4MpcLLsFgbKQkV6zQrr0Mb7E0EnWmOQD6lGyCiV3HpOmPx/3vdJdsx2mMXuxIH6N5wgkxxIOYFj0DOkrHTSD1oKA10dLOiNmAvfZcNosm1mwpokVogeoe/YLrvQKXtji2stNSWhsMTz9nfpgDtAg9WyWwYCN6pDO2Y+Fxwoiaw/nVisWKDU1/p3a8Vlb4A6DEmhfP4OqhVsLmfgMp1W5hJX5Nhfa39HiyuE6iX321PVPhIOYnRDwAeF4dt+DmZqzV3sai+K6/SqJ4D7u1KWpMYGNs4DUt63Jakyr50AoGYEgClFjIHKCZls83OfLAFbdiLXweO5fYiLttrOxBCZDaDuBtnI8PCIZi2ImkKVzls6+jMjsDpKgm8W7C58FxXyamG6qg1UxY6R2QwPxUPP2AJ8ch/CfaAd1bczsazn/LXNi6fn0b64J3lKHU5PfisR6Cf/zCk5t7LDs/INPMGQRkAUPgv62OZJcEHnobupML8Z5OeIiY4PJysp2nCjuKvEBWBjDqxHtsIU9RsBjtjmOj0/XFe9VRpAeFXTjm4xXGYNkgTfMn7LHXIm0pao59wLcSuC5VkBadI7l6o0G2FaiOSdEzr4ohfa7KDIA25gOmt7W3/sX/NRjs4BtAffcZToNnR/90DZWmiwykdI8BJOREAaUEKIvKdsgu5ulOUgg/49GD0UTiRoxnxcx+/OKbgDuZxcUjYef7a8gn2KcnFCms1ivggmXpqZMgktrzD6lOqcys+BF0k7IObwbcTu9CxLH0i+N+aC1zNOkKQTDSo1bKqtyCgU5DhphmgR4KEkPJen23YHlm8iPIteBGUbnMDPiO7XuyP5XUzUmnz9SehDakI8okzsVG/FjDx+0w7Dk38qe3S5Vtu+QRq8ICBX2g72nYZr6+oRWJSourPdan4lqr3BjB1Pa+1t8pizKRU72noBN+KD3sNNQ0MiAIVsc58+7aRKx105W+DC+VVRvoWLoCVabaD33UuKXfsLtPYLnZ0eAmganjgU0h6W3vm8U5E7FWoNS1WMrDI+TVh0kyQMseV683IMaoRAjYmrPqQJ9sXFT3qRci3s0I3uNHapmiYJY4Eu5c9lEgn4iCaUVaf/nW1RTW3K+FFlbe40iH9zjXrrICjoLOZ33qnCeq9gU9b9KKOgb3J4Q4yuplgGHrMuX9Y6i8y159Mwhtee/FwmMt2o3KW8aRAiVOmABATs4kbg6BT4DgNRwH6iYHaM7oHSWoiG2zCNyHYdVpEQAGzBXUU8C3vVNdavXC7mkV6BPOPpdDcAF5WltnQJoqoOiSefVcR0YybZ2knARXqVLGYtDAt2F9iKOIWTG7QR/YBRk3oBiI/TxaCfqEXc+VpsW5Ldl1w2d9l+D17uIAItbuuHSRBliLTuOKlp9oKv7UIlRr2Zdem8Xk6y4YPDdaJvFfZwTPNZa+YHivFusJzcyNb/i6WcabUC0HowWqx+moDCu4A4/P5Al7qeY47ffMJqH6c00h0jSXsnISS5TG1/1G0bJLMIS+nDI8WXHBbUFmCHU30LL59BTrNyltInY1XBH3lGKhY2ZAgwG8eTAvi3OjjT45NwRxPQ+/M04hGb0emembELqBP1FVJGTeFkuJoy6RwlXLm+nrYiu0fNmxeGWM4RNuRz8NTCqYlFlBMVs82svjWdb+K5j5i0rhoeDqoQtc1McdXoo80wO5M60sy7aauSdCLK2PNciG47JbOYLDaWV5K67z4hGTX8MgRwWFmPt7uEIul94NwgBumMk547CrpLtJ/mnjW1kVLaNAZeCMprMEJabZ5kcHpCoOFffo/TvVkL4MFZmsFhKCXVIrkzR3zt/H1ju8RCwKTi3mYakC59md0dinXNcO4y4MPcP5O8pqS3Zxkg90467gVCPnSI+D9o0JV5b9R9ZyvIHs3xfy5ATvJGjZmYGitZRcLTMQVThS6Wgs9pjbZ1GswDtAsk4EE+NsA3sBnaCkubFAn4W6pWXEqZ+nTKv9oYXGEDQTNYU2OEPyec5rYXmz5m81pu3momcvZjz/z9uvxXdN3HPZ953+eCMUtSbB/5Ckqh3rmiLK7C6Zqus/cTBBDJtRxU8gMjK2D8+T5rH4ebTUM9NhByqb0A6hxERyMS2tcpgIIJ8HFKaXit3PG8ri33SWzFR7b2ykF4+524BqUgrN6p3hPRWIOcaNBRL3+FUOJFg5YNeh8zyzrYoaRkVAKpm4sgh8QaGSecfiHcoCjO0ZnxmEyxHGI7/8gKmGkPYc6MwFfjficXCltcY08329Gij1/NvuLiD5171aYWWsaMWgD79hYQjt9xCYfWiMLwwiLLbssEWkS389rIWT4RIccRIELEwUtgeYJvlyq1lDJu2VsIQG1p7ZdcHtNLGk/aPH2okTy/SPX7mzk00MOz837IMbf/oZa6RSNI2QmICF7oJuoFI9KhBrmJTHbzgtve/fZb9Y0lWi6jMj1ei+Kc6ReYD33sW12pqxP3HZuIJPtYEdA1Eiw3vRDxLANbIzyFb8kO71hEjgVB16RYHLlmt6vXSlLQirGUYlONNNuzjl55qn2+uVEXYTRrnLeQh9JZsM+nRnc0n9coumpbJG5wzRZabE5HCFtet10hG8SFw3ZBeLvQk4MzvUfYNWYPOtSN7qyXy7Z5aVCx+5k3+OnYaFPgtoZ9sDSldv3joPd8zO4CVmn9tUFSEGmW+V7f0LBr3oep1PUUFFtT2LOJpAstfctLv+3ujWe8PDw3d6hur1F7uAMVWVf1/VhNDt70uisU63YJHF9GkP9TdMixJz9XkZt5SF5YORgj3sV04YUgaBjjisYJbOH7caPel7T/uiCDdsbwD17WzN15iS4uG1b3nSoSSCKfuoQ1cZ/Qeaw3ngjmwZumWiH6M2DElPcOkAYA1N+Lf1iEdCUek5uxN3LA/wVZZUkizdvs1zv1MQT1E9llp64M6EncavFzMqWAQgHz58v2M7m3AIpbhWqn1rf31mh54C+qJbnG4P0ssx4bnGzC3zVagHXr8xYuBEWgko80bj6pX8d7K6iMbu+njR5+bS/BIB7lYUyDd6obw1BMTaS8lypMv5E+yCkhbqryzm3Sxwv8M+QuoRFAVtPnCbMHQfQHHEmRIW+aqbR/nLIHbH2/QQESd5iagLmLwD6KaJexsPORq0PvuMddLILg+9KjBg6iK04+K0nP3bESdNFY+V/FF299FaYV+qHMSmmk/spagFMEeCAg50b3c3chqSwOb4aqm2RmsfVaDOXqStikolWbehWCOamsCfP0TIQbzcOmezjNRChZLo4nuScB+nRlNLLtWpx5RyhK5mVmz083MuuBmkAXJaJkKYsAUN7Gxh5qtrQrJYkOBzS5ObaSMO2bP1R1m5eGisthF3aBWvMj+SJy7f9RXsVpjg0LwVIKpGBDuF/5XN9avtmn+9pCYEUXr3qvT2JcPOVcEp/tPh/YON1fzSJ/uJMX4+3DoW8Qlgu1q4MI2TSy+xeuphlVD5ayhmsGbO/nShvuaqLarOX2BSJsDoMIVhkCqdLuoSvWuKIAl5gjgLEtX5KV6YrNT7cM9h/ck59Aw+fgPw4XHIODmjqLPD4igswmJJsVsgU4WVsaCSlA/qbuisSSizZEp/4rHQkQWtz6gzHkzsKZx2aDHZBPEtI/jgQaWz8kg0c6D0lAibnihs4uluN8GSoMTrCdGVJX4UP/3vYPbrDUyPbFGfzmXreNKPZu/lYSVowMU8Pg/aId3CN6xgZuwXrrtAlZmjeOgjjIKqVydD0tNNHRimSNkf4UFxuIS6gf81fHgxlVdRovNnIUCt2HobzXI5/QQodaiDLVEgTSTdcSnaUpglICwCDGOviH2h9fN0XrYmoQqXBjv41AKsw2Nejgpia/k5zaLcbNpKc131olpUWWASI4P64AueRVHO9nvY7X1P8Nmxzpm+ukL7NYL7RtIpm8u5uYZeENyH3/qr9Wf4WIH2HFHp24ZGft4g8QVQv6oViMIjQikgHLsgIepMN+/kzVai3Ju2PYw8hWOGq8OdXX51v+mK50tBBVi0hm/djH7UWb2tp+gRskxhILrpHwOfYxMwTTRwVFcYv8TEgfmQ2aJtgG/ekRkiqIoIKOM/THKRq3DrufmtDBMVDLiB4CKZQuWUAcddRpLQ6cfOxdkS/H1kyE8hUryjJLAzrgkjWWx/TiMEtt/1w+7gyd5hXHOA29Cn49VcIYDfBV0BBDc+6INYk3++1AZA+/QxIJlRxb3qnBtEkTNPNwzAtSG1cOzHpz3H9GkI+D0sFg0Ms/2jKmmlaPxUaQEk5Fo7I7nyDbjiKvTtpoCPkgUXj2ACrmzIQaX9KKZAQ+uOqwMh5nyLdcLy8MJQFqXWJk3aSdXD7d8pA8KmejmRvyZ6j3i/f3bpAuWp5Dtb+BXyiPr2iIut/ooN8lWVHJeChcz3aDXLDghaetpJp70kXC4R3VehDdX7c5hSYcdO7HVOJGpeOAEK3hIa3n+zHvkwqSe73XPhEgTdNB9h9Bx6vvWaTk2I3xsLBGfx/GpEbSlNS1k5NyP0VllXVzqtPSEqbLBwUYG2cgX8LWxM2q4QCsDLtLT1Tjr/ZZLgaVNHp5oPFBzfsyY0Uzha6wZIoBDo14/jgJeZQIthHoHxfQivtFxz7ZP5I+YjyA02e+O5XbO/TBwm3MLbaNW/jVbr8HDFts8LTzxCdykoQoaLaDLj7qVfE51Dd7QQKI0WkhPsT1+scXd6I5EhBycrcXwL6BZF9RU/oxHjmnjbUT6x1SZCJ0Zo2jW8tIpZm82X7Fb9kMYZTg+qmysNOLNT8ydRpdjFL4tXqRWeOgoQrwLcl2qAbx6ERsaf4hX8BzqZk2bJhngEAXPi5b2d+CNPImKRgwZoi0xaV2E6VGWZ9FKPOH2oHm4rezikPZCSuLfgUO+MjkQw8WSMryfUC9LTKimHu9IlpLo7Jv3pVhDdKsDoY9IARkG5cCkMF/pbOwii2Kp1m55ReUT9Apv5pUSDBEPJxCmzYMHkp/CsSsPFsS7/9SOf41W1hWD4T91alc2YoUaSprEv+mDZ1P8Fd5x1+ShgHAtyHpIJgqHGyO1R/Pu11qq3AVwD9tOMYUZCiWS/ohT7iQk/ovJbc7WFRY9caBYxCAVgL2lw1VK838hYoQ5et5m81sp/SCHUoEPRAjXaqYt0gOlxwILkbhPiYprMMs8AYAq1Lz+u3GuENlLKowc10kM9lySvhVg/VokS8gYT/LUvSwDXJipmtb0ik7S43Mmm5Th2xsXtobeOtoeoS8nyFxlEAJkxu8Iu0hUmiZhpr+Hh/u/KYdgZSN39ny4lQFB38gM+Ce3t+Wcfj7Cu0rmkkiSvRBbqEHbk9M7hzeGsbNrwMxMSx3MSIaGjHQ4CYlT4tvZcSEMlNGqnrVrm4jMdyMwmiQSgRiBtSArqVtPRwKBidGXr5GnhJPZGCRTFVZXPkt88ExL6tNahAdiaXkuzKUBBR98biPfFqF8xoAmfWFny7xHhrebgboe8oPBio7u37dO/31X5q3vLa0d0tmRiWYHeyRTnwGp+YfwpxxYDnckIvCXGijHYd8nD6R7iAvPrtb36WdnRGgo/kwPxLdXKmNH8N+4jIY7tIrKKzPCFPEfZapPJ2926iygr4TXpgx4mU8GlouIgoCGLYSFxYzbvM/X5Em6rl6svLJKrPmY/2nbzxRa+hJPKUyMotv8M+YRuDnsiiqXy9eRHQU/ZAIDcjGjmBsWUxWW/2OkIplGGfX9rF9NLoIOZ/0ONPNF0+YowpD+ZRHKOBYsRw0NffQZEkfU9cfy3at0P5+g9eVZo/Z8FIAXt6DqwOp7jqiqDCJ0w2CONJlM+GtM4HolEae76oOPXhEvur+MjeRPucVyefaMH9M1D8CTKzw+RgGZ5dRrFOxm9u/WkFv0Hta19BI54nBzvc2TuWy86457pZ5QCDks6xktDiq2QGNhctxzNnwPr7l7iRwv9Vp1HsmLj08WXCe6nFnv/pcL9Wkyc5pVktys/UVvTWxBxQNwUEirj7RvQibWJcreL/KzKwDe8eLC6urTBWh/Wp6PZPhHOcQ+CoXJgrZK0K+G0e7mi9J5dfsQ9iP750kHMK51LEhtgt8uy547CNqaEBCa+CGh1UZmHbsWnfp2Dcm1UEt0d0cNJOQ5qJmmFvn9pLvN2WA3xu3eqU3u5lyn7e+6tq4reoMVa9aJpgDvGaoJzk6BZDRb+Y1HclvVvAcHaawx4hXeU8M6vWfbS7/9K7P1GFQwF9KfW2ypAb08NtYx+XHqBvwgAc9eCJwYbfHxrk4Kbkp3ZQFqDPeWEciqObcEgP/E4cQ7vs1wnW+mINSg1S9Oi0zlQMF+CMi4U9aeR87euqY9Xpimn92s1h1+FZf8DZhYMQoX66rT3N98aIkpJgJwQ/e03bX0yYv+/eQGfKdaF8PzzEpLQNW+AnGSAfJF4rogTIDJYEQSHBXm79ZeKcfCA2CappMr0b2ffirI9WCSgqOBMfyWbiYviibk4kLzgp0aKF+8ww4YQumc5cyz6IMvI4PZKYBopMg43Jdg0MjeXP8o9DNBDvOF7epUQOeMgr0AxCMuijoh9OWZ6UZcp6TjiVM5kTBULIAZgUMEDJW6HtMocI4VkgnBfraz7HD5/JsrolmuFPgVxo4nSfRL4u0V2Lalmj48myMrF+O0H5dEraHW+7T6IjfXVU+lUmw4+JV9JyTU8mr/PoLAJTxrC6RG9xZKp6n4log9ed9h0Gstu0I2QYaaltP1/GhyiBlTi6wI/ExGPHu14dTTRKjDPROzl3F4W4x+GjM17yJ9rYYCPW0GpKbZ60/wohDA3sldUjHyS+mNAQhwJxGvte6RyD6i72aj9ulIZUBxoOJEWO2IB5mvpKB9OJwSUz3U+RJamcfdLFM8xcSzR7DjPrl2tA2c2pOUirQNpYJ+Ri9hCEbhh8PUoPG6unpr3Th7aSKpqUlIR1eBTMiKKJlWyiuS+bCIz5TxYAcqFaihKLOB48c44Q8D6bWk/qOwh/LM+NYP41l5JTrlrw4lK6vgHto0Se+/ueGMCGsM6KMVgKRL12HTGIfrPWvy/tvGI3uWYDOZg2bLGR9+cM1LjrTtWDGeKAYKsKze0rYpcU4uFQnqLic2jjucVHl6HLkPspoFfzqmCxl3Qh2W+zKWo7nV7m5CiYgiqi/czupaIgDwByNCVQVwv3wI/FobEVf2VMZ+TRNmNvBhfnY0KUCKR8qU+ic5yF3kd6d/o3tH/t5AJ7S8gKA0plLEA3Z8sfxc0IjVMS98tm2c+fr2Pka6/jLO7OmPz/t1V6qcTmiaI6zPfwZP8M3QbXjtjr0Ss3dAuDtNNq6YMxWoLzaN1WFegNdX35vxkRuPkPewKpBIH5Y4HQj1WVgZOXiyrY9Ck3cLshX67vZffKMUieES4gftz0SeVaB5hI6U2xa4B+igR56s+7NlxQ5gZozo4j4aEasV8pjvPkYpooymx65ua1Hdu3lRt9IMPbyS7XytH1aCNU3tYmKh/izbpEfzPedb+mktAr1MpDh0CwMSX9f3cVR3hZaJgzpg9WNMB48+9gbdc5QmPN9h3STQdfxJTVwHd40RFRV7qAcGYey+WivL9w7Hrh0wlxHjtFRQdzdBrdLl/6YHK4817GI7e8Q7MrAOUIKZ0IjiOin+iK6hd7VOBRIWN4VaTAUm30/UQOIMVc/RKRtqgG21AgD5Mh9j7BvNM9tovbuVzW8v2b+2oEqvjx72jz5kG7zotnsi2e1DnfapExT4ZuSp5Eh/9jbMVf0IOn2sFR4TUreLCFTHcx2wpXjVxe02vsn8mm4QeaJwRQ8gY1ImuzDpOfsUs2a/Kw0uoHgPwa4WwJmN7wE8/W3ybSEuinoV5oLvvHRUzc1vASuV8vmymcLBjCkN4rdUuPJvRKY7B+ppXgKI7cxlaTynCYYrlUVoZXyLxj35Id0Jz2+UU+xfqc9JxL+9wBEY8dSZAKBCB74ss27AgEJf9b6IQG4aTTRPnovJiNuvPS5a9gPR5TAGDmo1nVlFGsC3Y+4yOkIXZ/D8VvuzKxK4Tk79672vEP+YG9ajDXLY7Kmso7JYylJHbciEiHAn+UG98cyuVWH1D4cU27Di5FBlbUK2MASpz9ikGLHwyoBXjvkHXnKHar9hTk6l8ZUUqpYa4exf3UJ9PvbI7dEVeu/fkD89SzhpGnLJBbl5Z0PC22s/3S60u1+cMdqh4j6mAZJTJQbQKEp1LUCXZXxDZAkOKuceeE0cpuWKCEwV7c7pB0AK6s/8tTYjnlbfMIACRuNLfpyR179JordO0VNtcFjcKg3pJcaVjnRf/nc3QuU6NHkZjHfO+q259rU6xUB+Jrx28va9yPu025NCVoNxZSVZIjYOpUgvTSmbOJw4FAuXmr7NytMoopG2eBpPirIiGuC4yNdgFSaGUgb7+CClrJx8YhTq3UjKsTBK+tHNZgCYzcXnaUMgsCu1oOfJ/QFcl/HaVqjWs4vL57J5OH9DqTu0L0B0bWP+xpc83tlp3r8t1XHQVz0N2bPewhT2UZtFX9bA3h8n04Es0rNBITPHSZajKLHU/dDRTb6wnkBwFu5CPC26/lpYZ5QEgqqEnx/3BL4dTXRaUzi5OKYLZvVv2NPGwk68hVZaow0zIcaPmZe8I/D0H6gL48x2GjIF+jmxkP82CKhKYPGNBRWSCWGsY31BLvwt3JBytfGBpNn0yVtBf9zS7x5g7g1XxsIIsarSA5IplxISRAmYLnUUvvPoM1oGFqrlVpjNmP5mrgW0DYbShki9hdLYtu5vb4PFKISLAuTFR63OOagJvzGAI0lPF8RRcNcikvc3SmPv0X3bks3Rsd/enHIaXOF8pIx+R0iKhwOeu1/LT+k1fqcz4xwVVTlKk+AlIcABFf/26CP2EdD1ny/9Ik/HelMTcA9HwBefWDRNnCMY/Ykh+qTKzNUTBLC4u2h20swc57CVBfzJ6GIqv4mpoRZjdKhnRXc5VxKGZ6zd/4LNAad5FwYiUdi+6lgYLPjSyTgIvSsSK0NDdTSBsndb+aNcws0gCA7CodE63fwDvxfBSkEP1HfFV0u6Q098mC0yQ7CGW4r08r08zEiauuSfCccFsQyN22f5x0H4Z1ANmn8DBNMI2ttHCDL48RpUQ9jvhWa5p/c4POcT7HwSCVuSqkXyaaarwiKVp1RwSJpvNjAQfDGnkx6TtpdbsD+BxlIemcI87XQaERI0NU7vdmIm/WS369vKoRVb9FSGj0++WHZAuwtG9P5WIXsfRUrUDOT82RB5muOjeRQRDux6QfFwNMYyAlwMYKo8LUQKJwwmAuz1OUySQwkiCOla8jVcRSdxDsoEDfhD8Z1JARajnif4kODBaASB/vfihT1RLKHgMIulgC6uGZge07G6qsn7qq3/FdJTLfdnKvPd6vwMX6leh2ZBQuGAXUFeBJBFnafw8M5rLgVhUOMWf74MfmOaC4VRdDocpoIYJYRvfjzTWy2Ezmp21vdLGfVqwc2wgNDJumBDNLrVGEzBqE8c9K1MlV4q5LNOq15f2cU5S2QrFmSUWqpw+zX2WGtN08Y8wIvKqI7twetiPOgeaYNrERQ80yZ6zth7RYH3H4D2aXrdC7g3LvwdTTTx0O2xPlE8396lVpDvV6AJDtD47C2ryq02+ZasrPPT0YUGA09ChUkVspiqkc3RSF6J8QeSTaLEnuEE3L395V737IOn9KKSLW4zv2BCIg2DuBthbtBGj4a13UrFedkcm5WuU/FD327tQANZg2CayS5FlWdXc7iH15Jewztir4PuGV+ZemIEi7oiTtXrMI7Qfm4qh23HVRuY6OLNIKCrKl0rUEEHMxDVjHPZAWo+lJWChUz29NygsGqoAZtqfJDwLmSxA9OQAnMBwEOcokJIIuNM/Q8S+vRRQpKxSdL5/X2BfqA8SNoDU4QxTnvmJzTa2mp8TOTafmz27AZ6H5ibg0EdtnWUdsZNOjk9XsStMmZd6pAl6IBRfhfdgMjVTdRoFxiJH307uPOe8g4OXrQv15SkFEG8AvhaKIG7iheA91J+vnwoMREyrdGXipfjtzTCO3EaSmqQl7q0uXNyfr490urRy5W/rquhEjErW6K0lNjHuBQAX/lbw+iZt5IEYc15H7d4q8zW0NcsbbZX7cps9xd9c7rD0MYJf6090ffRE0iqB0YRSBs4+5ntJjy8NtDCkWGGHaSy7T7LzXQNyWIzMvc/Nw5SsMCuafKcoKsLWZCHX+N2/ZW9O79pGylxhAy5xdZtdcBvgA4gSvV+WrHlbKbmS9feZ4BALE02BWlN8molycz1C/ZyBHAC7BwvlxZbTU/z2JJj4IdMFepcDsd0QWB86MjyjraBJ6NOGAUE1Yk5fMxh4t450YQh5fwo0ccZeg7I8ulTPuDfjQ8Cr6ited2ZcrizZKkwiutzQMzbbkk2U0uKT3sROxnATBk7v7lN9pWT3kEXVswrXyss205ZGUItzquetQWgl5S4IEN25VH/TKyAF3AmtMRr9iE/z8owsJmtflkKmGaSifd2mtU/tsXLpUuHHNb8NI3UdihZX8ZOCZv3+aTvYPyQ/by+XXPvtwT+8AiobDNG0nQmJ/M0iL7+OCGbkehO6wTsL/xpqwAxuwmgmpbNg14JRP8D6SYUkBZnaYrjUU/BSveCNaXsxHmYrvZG9eNzr38AtKG8RGeu/I54zmrWFUtgFgjNnciQoxE7B9vfVaq1Y4t9SycfN650ozs6wRHtipejZP7dI8J4osDJKuJ21qcli3G7klyKtP74R89BarGHhkxFhuGNAGrKjE6ibjRLpaf8L+P+OvkuhT8XVAx+zqwIuRek8hrrNicZhQcyJcYYSkAGiT7g3NKEV6bsoX/4DKvPoJ5MA1VeRQbWei0Jf6dRlF+f+xN8zuei4J3UZEZzPPsNw6yt6tL7hUKj5pyFHVYQLKSpMa8kPebBBS1ZJ1pxF/WitlxiDZIr2BVn1Kw6O9GQYJNoGtPEGpf5bLf/I2BdpCV13arv4kT/pIok4HskdFiKrW9Tboyoyvf9jv9E0iQA+hxDxRcLYHj1K3UFpn4Gj3X87tKMTe93wUmRgTWWknbefOORzMw2zWxT2l4WR1eGKWxXVLqsjzkybY3c0pGY9Sk3bTqsVyA5HAs8i9fkov1xAU5B1gMrK0gaQbGWNNhBJ+oIgrCYL0NrR7ZfS6lr60Pv3Y+VMJjg8gddHhBtiV+DPZJXoL6SN3cA9ap7JAoXw8jewITuaiJhpmBXSStE8L3979K/jv0ZLZC9xHp19I4ASOeZhSwaHTJ048/ge0uMmZmo0WlKNkR8YazD+MsmW73fyo3ifrDTrZt46jBn+QH+y5sJlLqn7WF86P8GYX7bdWauTrEpoMVSOx4jqq4rtDcsi3+VSUGx3TjCnUCFBoXJqnWmnEnuLxForQ+orqgWuymkue0thK6kiBqPxi5sD+ZfGr1bSaN+KooSGQfOFE/L1RqluA3XJzJ44TPTI4jf+ZQ+E8i2a3zQaehZ1xkMyQ62o9wFVVVLLYeH1K0ukoDvqNpMwB9qchwFQh/XM8rvwvJJK2kTkfJaDb+5MIycHUkpQzUKsayOOJFYm4/Yl/SSvdEe6NPmwBGNzCMD1kJ00ufCaMtL/CuWjW4+2QkhjQN8u/0cXi7yvP8Yc71fXrXAUiMcxcV5bTXG/6sdu/5lSKUDEcsfGBrUkm+T8xX4p0/rw5mdwfxB+RXlcFpqz26FusUIPAcLLVY4coIu7n6aBCQIY8z1KG4+SpwaBm1R8BLY0kI04BXL0EFSq4yonA8txukYwvLOxN+qCK61w46csKtqrNrWigzEJv478v2TN7TBma42jPQHI0W2dA3yd18YWY3rblYyXsu8BI2JOavpoyw5KUHAp4HMU4Snaapa5cl/dcViRyDfkR3FhdZJ2eHCFS3oTIGhJRI8L7rrzcKNaCmweCMHfK5LmldQk8AGHBS4vvQvAb2PPRmtX3hoUOqy/3AF5E61/rmuYrBM1LLipojhLLNlZT5b3irfzc0UtXDe0g2wTa3GlWciJpKEb2QCMTKRnXlPLdVGe6yXQowWI/tR2r0c3eOKDBdCmH5piA5v/1Qdc3+F7ancQ0bGRaEjc1nLs82YpTzL6R+yyb863XI9eRNN7yuu5xkN7scF7iNSHWhiFbmL3a0mzuIApvelPR6L49XkxJe9wjeOtGEPfrhBsOXM3quHFe2yo/UogOn48iMHAbh7dA3sLdyVURdqI9wf6s7ONaxZXFRRiwEdLC0Rj1jGn4iT90A+2lnsjAYuToeyop0/rmd8EGahJWze/tOnzJIIHQfI4eGTmcgWNnfeNItKRwz1Vy1xfXDn6w7Ya2QdJiZDOfELB30f+lxWyD/Tv0SiNiw432GSvu5yn/hx2F8eISs5LE3c8Aw8saAzERaP30AFAPkUPhYS+JTplBBDwPzP9pqqGa5pbo/c9OyJ2A6n71Vj68W8QDtAat0bOXbffqg8QlEyLOHMLgPzcEsPbqTl6dL/gZKr9zfn8Elvqy0TlNrIfyK88esa2RrACu4PpbdEqQrK7XIETPUSRM5p7M1giz5mwl5g/31EN7B1NIXrICGKMAEGR16vezk+FrdIDx35eQ2/Taf6z4P8yu01mjNpUzaLSjTye1GfDu3QXALaPMsHDUhwHlOQbbm/u7Gi0utwoEB1WdCJFCVDTKDiGw/r9CmOjNJNsooc6Wrz4CULFec4pJ6WIoJVEvpDZPk3MChTqvUQ+scE5I0ilP2Zam4Nawe0LMXA4nQMyB32qM8epRxIzvtQbr8NDFCFjBvIVd7dDHYJxBurrl9TOzEC6dHQhVsjhwAqDG3GIOo9lP4x480uFRUerxy6eGPYYhC05R/TbnJuxK79t4VEkh/DO6GKPNr3xVHKW7zvbslpvMGGfSRJGTTVNlrZ27ZoqWPKxjwzIUdHcTHbuqMmFjLjRgzbFmQDGLxnzCMVW2JOmOS6bAjw9I5TTHz+S4C2IZBl6+5WFJgm81T7Na6A+WW+/NaCPhVEdwTz3ZMrQMXXBE5ZtxpB896qIlVFfhHcjVMEpLqxYmPvebqvYNZMfz+Ap1MEWF47oinemlgnHJrc+9AAZDf2TbuugD6EHEhDyPMsvo8uMyoxuxmao6TiVYwTCaYywVQ01ubF4qZYMYAv7eCFRLSeEKG0Wh3Hk4eKUp6TC3anGkxQFR8+NxqsagVTZ7H3srNmm+jzgTgCjYBhv/mgkcfQBPV4qgEgB78eJaCmcimynoxdlVjS8F0oPodegwO6KK9KRf1I5yGeWld/QBusWkJfPsjurcDwGEDiQLI6FI+pochmlU9g571/rl4vCg8DNQzQ87zjbSe+DgXSroGdEHiCJPk97bNhGvAMZJk1Mo/gr2pGanKSBOxlQj0huz12xq6ONmjVD3eHenV218YNX1//JZ97+xLc055n2K+eOOclX/J5AZE7gfgnh3KukEB++rln/JHtCDnWvTnQW+DtlhtybR9PsyIXRhy+0Bz5/hwifuTKBQPYgm8zIRHfaYMoYx7hA1J63TJF2S92hIZKopDGEsoDMGfRLZ0XzAqDGRlW1dmmr/ho3/oj9lewywGTsztT9dmQ0NABzUOJ/sqyi3s5cx3gJfc4r3pIIexbmUkuCAabYRkIKqg96VpSwxEbYGrQKu+nPKxVk2kPWcoVgnfZHorFLg8I9wE+A55whO2jV9R31WmCo1uKA058vKWYSBKL30jBrFavs4ibOqvJSmNMxcBA4pRKOUFlFgPx2v5QEufAS43rWcjZYh6JV7d/xAEqmws2r2LJTEAlfxw9vxC8lpQTDcGn805/1ZHOfLwx1RxJ4hNPoIVSO3+cD5Sl8azx4/A7WI2pR6QkAIwo7YDkKRs6vlTKACKGwl3ULXVzFssujyns1sRWyBQQhmvCrsPe8ZaEQlUsxHy2gf6k/5eIkwFaBO/oataiHhtmPJ0pm+SakYMxbV0IpHjTBWrdgcZ4xQ+rVaODxv8s6S83e4DEAyUhjYCwZnV2GDg6C4/NG0coy3anLlrE36Yrnt0yE4tXXY6Ys5zv9mXeQAu6staiKpcOfHxROb3xYloxEFkmTgZ4p1EDqwSfPg3pj+DanT3FfyhMyMVqU2WLCUPIm/xyfxJsEK+uIZLR3SyEju13W78KtkuE4G0CJdfeU/OeZdgO5lXDZe8L412pjIesV+N5btkitNkDIHeXtwMNE8IlzLRIL5RSYmWXceQu6MghmLPfykFCtHNP7FcJasxemait1N5NJ0MbrRcUkrBQ/yCnEYIgZzK16ShemY8RilmECwxdytXRAvJ2Ow5N1y29Ltb/WVBSH1YLFxt9ZZwJTfq/aKZvC4Y8votqWh1QiAp7yELSFTgUol1B6hy5EFa//QJP2pJ482n+8Ol5fdXtf77AxIbMeEKzbNFsXOk/WBvirwluQaY6SmxBj/W7J2PAyjLUbOYU6fzsS3+lLtaRZnXKL5leSDYX/mIVq7UqEu43fA7slT0FezUrdv87TCEsqndh67S6+Mdn3wzPX+/k2AE13/DhOXzGYf8KZxmWX4tXUXrBfg5uN573An/ASabRoblkDmGyOziOE7VfCInQeJelhqox2TuUcSoWH1De+pg8kLOYWPMhz+Be+yZf+uSrks9qKyfVTFXqxKhU6Jo2abU54o00wRCM42Bvsz8QcdY1aY4fLEZsvwmUDG+j9NK1sNEKRI4n8YYp7p4LELsbkrhjF6wmmZA7TSK5zTAi1g8w2Iy4gWW/XGLwrp6FiLq30ROr2QKnL0nJREhttA0ziWWQt+Q6ZW8gkptAnSOt02EILjozO4IFfvoWyOMQXgpaxPxHwNtjMwRFGCbJNHREV1iZEdQwmQxBKNjV4WhiSK4zuhPGMxYx2Pe6rM+zDy2MJYbctd8lwwSksQyo9oqY9wWmF/5C63e9gYy5d4O/FFPBDqePv5AzXv+WxCVPtUzZa76kH4QUuRrhc7Xb+76TusdFVAezLi93XFjywIuYNJhHOYXWr6T0wzLFgp+r76u0RpruvtnhY63NPnYf5pxtocb4bdKWeqoXhjHK8l0M4GF7ZN6T+sgbEYXZidZ+vbWVPH2WAZ3m43jbPgkeNL/rRjMXiEOCU86R6jawkmTLBxyV2dcK+Az/Kifb29F2z+S2Q9uPB4px6r23LzXhgdyPDNiJ6XIPP2UpUSTB063+/yT+31uAakmS0Y8mCgCRNCnnIrs9H1ZP/fYJAPAgucnSVvimU+JQcdqzoZS/IVJB2TLeYTCwZUHZMuEd6JAHA5FCuRemLcUq6Eev/EjF/oeGjS73Rbx/B8U4wM7Wh767UvJiMKX8g4eO5DgQfmmFTSGLBDBC9fORYYKE4Hy5TfcXklWC1NKkLML8FEhGchjHn5s5GjBpoczZBGEtv5M0iFLFZRqzvrJ2ydpjZzQTb+KKYOjG5tuYIUvsTKRtdoGVqheshP0DY780fIjbxlmYfa71S/GB+9ysEGD9kqRB2VmliiDfhqxwW01Kwwyhe8FB3u/3niXUXSxBGxgKT1FrPBwnTDpqm8yLhpY1XNt22sZBLQ5nkjsOZkeV7l0hRWW2QazVds5HKmQk70slYdPn73rrCoV5wLJR2nSyTSDB4r2s/sRgV4t4nXidm0LwlxINxjDTeleJwnD7eC5S3QqeDnATta4BglDzM+W1z5rqOd7zcDXil3Qko/gzk2HfwpMF2X2tHiclsieAw3DGDNM30ikERkjdYLTfM7Dsg4ov8DhMlPLRmHAdxK62sGGkudIiwHVyhyHcOgvWSqwMU2uwQ4WPuqKzWfA2B7TEB4LCmvPyCiYQEQZVj2uTzfNRT7ojkozjFMSHXAeXsCPVvv+wsVL19vgoLTt9RkDb2tfRbkot9I8Xuu+8DiWxFOeLmnPOmh4pP6WMMqeb7zI2fsLUc4EYgVhASA9H+VdpLpYLGTZvebmV/fTIE7U8+RsbUjGSN810rwSqeVdWrNj7GvJoNGa7P7/r4BZ3P++rwrH/5sQIOWPGQXwki8E417qxnuZpHbNbCNngPPBawNnjcgB3Je5GvCbRFIF8rkd+99XNXleRqdTHmsZtF+GFXivWlGfwnjADjl4yYTvpExzH2Ocmh6KwH+hmkRFLX5nGSWV8u3xJFU6R2VMfWD9k/yCrkGAGdxBIDxOJojcKCas1y598e2T+zY/w1hiEo4Ca09If2lO7SBKiKPFmEtoP4qyqxPEgxUzREr2sBJ2QJ36kE4kc7+YxnIAUF2uA8Xq3U315GQjFsAlG0Cqn467tWw5Lbplz4pbVj9k+XS3vTUCiHSgRwZJxKsz/qCbPllGh21ML7rMKDem1NuHLZFSESaUG+5TjR38ae1XNb8eLabZRxwcK3faxHfECD3Y5OLnroUtDdaUuUILZXo3d8d4wr9AltKrwonS3Yb/+APa2QvvTFT7O/gni+serCBwXBjkT1qp8sIKVjwsAaRkgM7X/DfpCKVQ/NU6PXIHoMW1Cn6m8pNI2oQrb3lnQLCogLaPHLExJYmbLfWT8nRH7E5bq9Se8TwfRiAx4MinQFlE44KUulyz/saifpC+FYVe25TSU7sb7E0ieaWt8fmka7yk5r1J6vGSzFSIyOr9XsLPfnfx7h4tM01Xm9jFWLQOuiPhoHbgf9FeEcseeIaBH6SWovJM0WDBD9sQFEZs5x/8FAg3EWeSGpTyeFNaA1qODs50enkAD5QQL3+1R820RZavtE/NcMxi39Jqc06+Vha2imt/AmyqhVxcDUzBBnh1urVxfi3L2RANHPPMi9QHQcMlpKQtXSL6DHUpCmkQJcQbVbQnVag9aDgIWSXduj90EZtgShYXer22Pf0ku7frBZKF07anZ8lOtcVsatnuY0LtgIZC8Niu+Eljf8Xzy9WpwlB1oln1eDBUEOmAwsR69QQIWqBa08N+iYpZUqdQBH9oI7t3RpsCHwzq8ZYGUh2kXPm1kfeJGr6fdZkB7uznnyuhx8Ai9b0PAMFtlG7Cb0XxZAjcDE2LOPh4fH/+2lkuAp5CoduXZ50cv9G6A+xk6xXQkK/SYLuQVWZrSXVWlfWf/pi9mQOOi9wZ+mmiYLKCR78Jw8OSfSdkyhvchq8bAwp55KQwkPj8q/DZ7UfbzlRISc/R+jNQnBaeIklf6O3Pgsv8HfHKTs+l5iIkD09CnTdkzUrgXk8UOnR4Xm4Lc7nJQ14nvNL3i4d9Ry3OOeJ08kV0HeZ4higPjaujGxjJdigX3+4ebsb26vEh6yqxaXnaguPXGp1NXFscHrKu3Q44wBkXkK505CSs6a/uvHEs3jDRh4ZjOCQiRFWFpxPbryBqK7QdDU5Zr/dli5wcFlUhFE5MxVmnuhnDaMccJmTEBDufuVvcGl+olmfxv9L0c97yEKc99dtSxZ4k2Q1DdnKAQGqVwAWLNDR+4nbKY3yQ+5EhLtOQZGUcaKBPydzIyCtZMA3qivAdWiWBsUW2QIdQB1kdPDoEpxOGyF6T70XWQO37+NL8r1JZVVRwuWRUKtP0j6u3P80tagYH2kPfFh4q66FBBhzIK7t3abUdPPKhPLmgR0YKylFag9ichb6b/fjgfpR8xVcYUQrt1tT77szG+u9Th9mcHGVi6/VvY4MEUtJr9NdaFWj1Es5NWdwJLW6ek7LdXDd/+kyR9EB1DXrzkpu7H/mUYLlT/dGso7yeRfqlBXQG+ZKZqQgeiw6i7D47nehnDm+wyLVzQ955PLRwHBBcqmjA8mfhqQwPtJkv+zYgMxmqHu5PtNl60hw2pMU+6PMRKZQ0zNvlx3kD2iXGqfsU79D2jqZiZATC5AaXrR6a/E5co/H566p/LlFXJIregMcRWMLHXRbq3UuSnXj/WvD8mloGC7QO9zzk9XQGECDYBudWJiEIUZO5M2bMSi7Z0O/5W6FgEb9r7PzoJdmmrxdVuRrvovKkDmfDJMphSlsNBsx4d8X1aQ5f5ZBGOpw7kylqVyfLGKXGUAkRgqh6Z+Fj7LfH4LIYbDj5B1FMuuGG677U4Yrw9eQTUPzJU2fUafZ7NjMu48DCV5AG/m1/bIsoZaU0g3V0b+Fni3rYjT9QDFeRCliFKg5aXPX3hjj1kf3BrcHJVp6xbgLkzmhVkKEID09TlbSqylXIkzLsbCve6i+DnlWRtqPSzKQQSqUH9neU9MsORMaFSllNPZPsUm2rrAwm6KS4Wt3fNltu9IXr6cHxhVjgCc63J7IUOTtK+qAYZZLXqJQ8mY8/A7DsQEXNGoRVj5v7m5ci8RgktMC6lJwwz5I3Opp8K3KHhdf1SRa4ckIAl1HvYeHmUgae46hbMsK99AjXeuQW5MBfXY16HTi0SmfgW0jaKqF/ZbFRTZ8J+69VdfDS37u086hMtXtqopUwIJhP3vWmAn/nOLDlyVe6wiq6g4GZMuqdtwieSXborG0WKTgRekMSleEFQivj2vPBMZ63NkehXa2HPvwQ/fAAP4oGftz1n+N/BxSGf28otz1q6Cwv5sG5YelXMj6owgUaS0i4dCleXdYjepVvQWsnH5+J2s5Y2V2v30e92vWbnu1XqYrouIhsZFtmEF3DTGVg5l4Jt1X1StANPV1chNDJHnTzHhVJZ9kJPRQp/vYK6Wa3aArGPTxcmnKg5AHOSz7Yv3Qf5xVRMV+3AZeEnihFioNUDQ+sf9p2Xzy2/DBNyNDIN29wd9tDxZV0+UztgGCxQ1OjL5PnkZjN8qvrJhuPmgSbU9D2SjG/lMPH5d4b/VSY4ATnp5301ZuGqypXIi3LAq6iYy/D3ML2AKVheyB+Tqpce3xjdhOKC6j2U5gWyaeFdOnLTOngSTAB6ELx/MYEB02HV/F2OQ2CudN2+A7aNwsSHYyTq0Sg8WZj2F2RWvQrdqIJcXm+Dc/6J3iVUED+lzjBnjr0GAHcWqiPhDqql/JfxmkJ79LxqREdfqNzGalgUOm4BRQozM0PYEBlythTW/FkCLhQp9vkqXQFRYdJIS8Dqp7p5UdIymYx/7F9qn0q/Ry3dZz3Gw/t/XN1bBkaGEdKC45wwSgA8O15IXBSl9PyZEQ+tH+D/+oXSAB/QtlPmD09eSDVKoJQk7YJf4PqPGkJUJ2fufMUsKxd4/qUoLpQBvVbSKjcg4ruepiCWn0Zt3DvAXDv2n+yVpycr9JcL8lfkULrbSil/KEYUIOX4+9jQtEaPWsKeu1d45jYiuPKCCn5qKFiJ5oVOMEN/C33h/ExpNGAOc2cplunqATx2jrX1uEZ/ZVWVDlbIE6GHA5DmuvXKZ3mtB7tKu0JKVkDCH30iE5fK303aS6vTlqL3tZWcP/MQxcWqteYIU5BsFrp/RhzHKf3UhqihR1JJmzg6VWxal3gXQ8+fb9CGL4jZOJjfJQHA/z9He60Rv92AgJhRcbbYfBagdWauh5KQAiZ0fBCr5ckQ02xfHi/ynTyBqG6TM6s+al6P5R3eiRFUvJZPb5rCTvpxsMaRSZcNefRIDMn/8g21DihNi2lAli/pGZW3WEfDBZ/ScbCUMUbr6/IWsjGnTNUlRmjDHzDSmkv2S+Xd2r7P1T+3zn6/My7PY4levn+VbrjoSKN3ZNBN3VCXb3esnUEET+Ec+GH5JNiUFtu9m/aM/pSeuPo1WkPZr5w8zzkz7qU3Qi7a48YhN9QoGtRo9qZRE10ONUJGmJVR34QqjNkZdSGo+onA4UkZmZF4jmhPpWGtPZMrluqo8IZR9FbsEK1a5deC2R5yHvV0jHN3HAgELV9EiMIqdJ+Sv6wGvp/kUushTOpO/f3oLEpL7A+0Ez4g2LSOj9pa93KPp5reyll8TnteAWZANb6OGhkHQuhicT4kZyL+9dl7VSw4EQrH5NkFBA5CX8r6ZUBCfClK5U5e9e9EuDHDoyy/T7wY9v9kYeR2BiruiJvLQoqSOZOcD6biW6oZRREETjxAPp/bdqWFVHvb84YMyAUKO2Q+rq3rjCIOMkJ6A2ekxn3dqMt9b+FeR0+Gswzeig7xrvdQAk0di/3dJMWkzTVOcr0e2nb5MZGKkcYeAP/VMDcSDDrGwb8V+cfxyhZvMRH6nqAaUBw7njiOr5kRwnyMfpFEtcIpadeEo3fXy1nlQ6BF/LeSvDrkUwDZ2eK0U4A1vJzmp0Li/YCojhIXDwpqSB8NQPGf1AbFLKtEJ6qmQhetH7R5whg79RXv1pVWA9mR81lr4HZ3aMgJmbuK0rNM5zY5Rds3eCJj95Jo29rHZ5n2PDeTFSZrlwuMxySUrjyqWkUAV7TEV/G25MUIIZ85OJxGh+4O7sRVDhU847DX8nQZ5dl5a5Avf9bJA1kIY5pqFYsxwdwJFkaDp61fdpQdfOz5j+vlIG/rPx/oJMDav0PIwQusnZmZknjFvw3adeg/n6h8wmrnaTXo1F6yjlcNdg52ixs2VCT1GIpNbbSMHY2GRODV7Za/ROieVufuH56an8gbwI74H6SCofsuBZk/mkE8T9h7fOjKvV+U3YP6B90aK2GGLA9obw1mhtPO5zlj3nY3U63H7IOnuidjRBmLavDz4jXzgMmvpr6jfscZMnhLW1LWIPs9RgAJqtAgcLFwI2vl1oaM009ND1v4k+FVXc4V8b0MCSYH1XBtKIwGid0wRAq6QdVcUBSFkEiE9X755lYegzjlfffr0sk27s3naRCSIety/xi8EIEeFPvH8sppQ1XCE4jKN3kI2t3oZ7rF0FkCtIjt5Q/82cHgVSZRDD1TJ0L3AF15+jCH4+jinlFZVjDobU+oZyfjND78Aj28Xx4lnttag4llf+8yi12+9ce7rIU7bNldht32xUQVx5rvJf874yBy4ozW5gkA2ZvheT07+NMJCda6mdEfdo3VfbFDbyurxZSjmA5H3m4MtSfwGUiCk2T6LIq0x/O/NPZ1eYOGa8i632CufL+a21UG9eSh9WhMtp2F3fGLz6BPJUJ9X+RzFBP9/aoLqyNER7/1kSKV4uED0uXriWnYclHGh8s6UhzKHoU49pyyHOR0/fBEh89saYwj7P6cxRnB+P0UH3XEdD4wUPXoUvtnd2w2cwUlq3jXoYuVfAUgbvfd1/1emgrYsyLgucYL8IA/EAsNZRfg+tZsk4sDB3tTNE/WrmiPeAVldummGiCjz0p8dZHfwNUMmf2AsVRpxmcThWN8N0EHrNiU03DZzEo4PStgYVYaqGM+IoCKLSt1Vj4AubjKyOk+6Wm9TTVF8BKo85xTBvfOQv75lsnc2kA8kvtfXDF+A47h/EDa73SEEblGmoYq49bft9lNFa2vi7IIZT/bYtK/FwZcnCxaa5l9rtlH3zWm17tppcUF7tukpctG6gxPBw199BZQgPTMxoBvhqrHKuXWHK6PKOYoe3iXBzKZWsLxWrYHDVULrN/kDrRFMK7tgiX6KMNrMAT0AkohzYNpefnm/T3rxzYhWuOs3+YlvTp41/ZdC+Bv1LIKZbWWZGDWVo6DSKLe6bWUh1VMlrFgDBnwn0Wepm3EzGiuol9KmyFOPDMUWsv4FXCgyu5uCMatUTVltQ9DG5ZFTGoem52w41/jFzYlHWeuu0FyusAcMGuNsBTeLyg+R9EBLAaA1rry/eqfQtEy8ERqxLnW7L1HGKhg7jxSuBfePSW7oa3xXI3Avt/t69QzDyvw2q1lCF3IUk6QMYXxiW0M7XvviYV52SxZV8IehKOxlUz62DcJ8sFdqoy7/ukyqWVUMDXkCRuTbZUoLJfp81Q/FoBCmHCDZpyc0dAu1hgSwF1I0W3PFIWu/HgMUg6ZxidFSYN3xaekyJ2yWu5PDWFweIddtoOHAoZkTopq9xE8P2Dcm0KNDxT1JUPa8R8gAQGsNfMptQQXT2+aZdOtTke43faqBYc6TEuP07V4y7I7y3u7FsJWwg2ylzZIMaFP1vacIpWCVeKyQ8U+PxCkl36eXtH76uhmBglVbgW3Vnl8hNMde3OS7qWGYhomID8LFAWgjMPIsApYjXZMGONOJfErx3d4nYJx5toPwSoa3AirHwaNMtRFUGO47Mw8GKFB9KCpmjrdWPG/Y5f4fA65ueK4L3vWXOt7A1WS9smelkE8CTtcn+d0bjA09vyGYs3PhFPCFrb4OILuzqShe0OurSOIe4F/2kekwFiN0UT6GrtKJT2KuQ1l9TX0AmpiufPoeg3jPrsJvD7nTQ6XAV5zTs67au/sdmToB4UWQo6yg5xBSBI+mEKXXGNelEoa73vtXoq3DAz6Am6SZKE5kR58f3xPh/e6XuM53Hfome8VacqS8+Q4kOR3CTJqpMYSSBnur4jvu30J4hAXwHeEGlCfarqOMlNFrhOviht5fWFLbM30CS21DRlZDzwMtQA3z6QMi/6QFXi87uri20p0L0hgw9v7BZ5X40ufiryU+8joeNhTw4s0vezd4CPPZoK3maZtrcRTa9i34tE8qA8CUD7Rqc8schCFmWI+dn7McmK5VCtttOzchbzeperxCha59B78MX3oe5yM3CETjAv+A/ljSFyVz0aOUhusAiKKXp9KCvBSsVRSj0SHyw7DTCPCgGo0bDUlDgDJ//Dm0y+fSzdQUD4O25fV+csLSqB24KJLixW1hh++bOKt3/IJudGqCMbn7v+h4KYIu2+YyZhtuVld9hT1jU57FM3RI9DF1qp/f+RDz8j6qw8kdVXf1PddYGO2r1pET9bz2XSHS/7QCSJfVSX6ZoqTxbAL3wNpHdlKmCP/czGVbB1MR2jJ6cWVx8Qrozrek9YppYrCEFuxoZyCZKOz2zeJMJPr8eN/Drn7AaFUMTtYbrhQw1hk4hnOXzBPgYbliG94NylvELaDrC6xln6st2EK6LKXQvuIpk90MhiG53bvWUp/uJhTY5lDNUe/MQRLJCBXSlw0k/KfZ2h5PKHtOULxBcoz3PysEhjkXOjlEIumxh4R2TL0JGnQ/1NEukgMY+kscy813a5eKU1ZW+vj1IhFiZ7buPfeWjL2LikIvuLak46ChxxQgsRRoi9D3aq5QjVTnSOLIjpXRcZqt1hzLb5nwq6bOF5fR1z5mkBbZfQXgLVkQkSwTtA5hkm0ZQj9QcaxOF6Yku2UGrivJwDkaGCOfJ6BXPk1/oKkxRYwo+2r7B55fpqvy5oQedLVzFckCRGTbmCBq8jApbi0TArfnh/mazWvwJiQrXD+VG+mgNxXIWGcaeEfMZkCX31p7LXYm1cEfxD5cPpM9C1uyfYZuQkyxeSh2FTJcFV2hWOMSP89pKGq2A3/gS5vuDLVpI9GWUiW2QrduBdKYZxpqTZNJHufkeACNGl9wK2+d/+Cz8XzIYYYcV2mF7HozgVKFIzmogWRQQhsf3I+KQJk0vpU5Z9mNzt1zOvwnCmWESgrhHi+Q6hYvFeqcq/YAd1n7Kg5Lqh4l2TBY+NdUg8dF5ZkuwQ/iDdrPRSdU9RzhfMEhjS6W8t144+X2RQItTbMgxrQGE7Fm05HZONXIjrgTHUXUu2xM21ikyvKWRIOVbyt90AIjGxqML4x6LLW0Qh9V6T5OBoCRVnHPwIKBBdpB3iQHthCQiDRzxYGEqpqHQG1r3AmbQFCHk++FglGVAXHzMXqiWvBLqSEYvWMN5o/GMiNADGZyyQsq+AoIrhANGZk+kG5LJLXUuYq7ZXY7azYv6t+UVD266Y/cZlcbojAaJBP69bDbxXs9k1DPwEqkf3Qxf+GmEi21Wi90qoXB6n5Ljf2BqivSMuuiihRKdlevdZmCm1WTwyI/3lxMe1528tEENs18PAV23fUdX14+4MWOsXkIz+xcaHg2SNRuNrlbF6BiynImth65BqqEQ5aTj8Gt3/Q7/xRM/Vj0i/wmav5PzYiRwPojBmB0UrqWUJqbJ0d8BNmBQ0Yuztv4qLO21sSB9nDKrMx7BP3gYo+IGqGlEFTsNdwwa5PIX/FgJXrXHWwYZ8hzqhSzZ6ht3gc8Ls3qee9gkddyh5EBVbHIQKJr+AW8wSO0fmZhArVh5JGioE5lXk3H4X3lmxfKxAMRDfIpOnQHjm6AbbNopAl8v18j0o95L/Lci4i5lSqrtCiVanhgiAI/w6JupQMKMAsT67DjsHduj9agCL9oNZXJzF1da81Tevom6vSTzPRQEGahCLI5OJSR+f4FqLZha2wQQ/5xTPH+q7p1UPcLhc0IQag5aSAf4wH40m+xZl4m4gzzAs/f0Ezfs16VzW1xdaYtNBMj1n8qAKc3XO9nlyrdND4zU1vpU/OYnHtOSkptHcVi1wNMGlEB2GCCqySNFjU/q69OEHskiGRkb+K5a+BZpVPbATsbdXliILTbncOkd1mjdi993aUlCbtNvVX+GCbAMuckOyZcwJxD8F9yf+jQAga9jBQLQSo3qwott70ztouTzXUJ23jzpwvIoXeyH/jofk7QFuxz73pdQnru4QCJOkr5FdqEwpb/Jgl3dlDvg7E4Op3w33ICM0dtgMWim1+Ekg5gUA5V52yMKrVnJXPLAHNpekwYKOTWayUN97Vv+GAZiY26FuyX+i7O3f02sHE9j7npj7EOTcC1nE5bLTNih34rgS1vNCimCLJNBx6zeb/h/KtAeNr9rviEW0I9v4C1x6GPC/S2J/e854vHVE418b+6kExxluT5UPaLRwc3nEL2A/XzeBwl63xMKbaLGZwwVlr+N+E1JtaEQphCzLGTWJh7DRb/JjurtnCtdMjISyNRP/kXC5jyswYrflim1ZDzb118TFg0G8b5rwrT0aKn+WMRU/V5321+CwrCbliV72bMnHGIy9ZISE/AFrTKyqou2uE9b360GqWx4w4W+Qp7BLkX90K1GTOz0XE4fDe4EfvYFRVNbrVzG3ZYQyi+2LjDEATrhi2edJK1UwzpkAhfSXrO0KjkBpaHpn5acYbFD8qi0Th+L9gZH3o8lCwTIoR/gQ1tmywEc9ZaowFK/7O/9WwQzHyQAF5FUDgWsscXkRykb30TCtQeM+abKklvx1au4itsqSw4qjWh1gZgb2R3XQJbNL6f55jnacLQIgdpbRMoE+PKixISPlOQ0qNYFotE8S4C/INMpTBERh6hJndfZK2LbhsYXSIHr0G07DGCJvtKgxA9Eevsaxn6/5GZTx+iFLnYYgafnEcL6TwgjKPT2y6l4WKPs4Bq2iNOTTxIukDt8y0WvECv+M8fJT7O0lWOVE8/1s18c46zAGq/SlY/zJf2SoCq/uJ1EKDrztcF52xUw7naXmx4KSIoOljPfvC49DbrUd4dQaxU3oucJuA1H5s3vPo0ufMKbHOLaSMrf03uCh6OZFfs5MMrkVKfBxQJNBz1iZDk3EysUP1pZDuxhKpB/9wUiwwdlEmg9tusQakJlcdbf2/Ypv6FwD5hHXZcznWF14+XgeH6ftkuKaq2COX3S13/7WgWD26rH3vVd1lPIn25/m90fnLbrUY5mhN1b1+3l629J1VMHFkHcfKMlIETF7MA0R5rp4MU+XTaBTN0jXWpymKQXTK8CwtOLuh9uFSTEixdXci+MoCmBQM+GaZgorz+jFtxBFQOVKspOVyyYpIGd6OwshnB6uaKqyUZLtZr2FgvKy/w//X3pSPQO2o7x3aeP/IxOuDHSI++7zix7lb5596rH8jDQgMgla1YOv3QupA7wjpBNTfJldrBViW19lyKOsPBXu2ZEIPXNAPBxE4+qWqkMsUzMHOLftGg9OcaP1Ku/Ih/oscj3Cp5viy4GBp3pKQBtEa3JQ6diaZz0oIDafxI+i0UrHpyltMmqVFkhK9oqQ0NTLmxxNmGazGU20clGQhiHXiyGB8n5AbAiBGEE4XKLbmDOjzQG26UlLc7poM+D8WnxB34XciQVhEOI/fK8heGES1Qvoqn1kPRqjxcFunp2aBYuE46lIyDnncwObSiG1R4AfKsEF4zyzORHrnx54ybRfZhjI0oxLjmAAe5Iq3yTac1oBB8HEXDHrUBl9JXN6fyi17qhK71Hk4OC3szm4wzPI+mtkttcHPICPVpWP6p6OZ5me5bmH8UF69mDplFAqTrnC5ehMPX+MeaQe+X5SdfBT6XnswABWe2k0S1WJuW2729AZkrSvSZ3e76AOKB4wtvM0r081i5nyGQ3eFL/yPf3k4w8Z1B0CbhPLRNGsSInvUO5A1S/oWIawlq8XgQ+h33XGyatASOWCnUyPCr0T+ra0YmrGwyHOKm+dtRLXJVc3c4XuVXeVnk/0Jv/Kvq07P2JmbgHIHLFlVmbhkOgPAqxra92qWv7A6c+pus5PpYCdXZcOyUx8Quz1bJUgeUsVwcpaZI6o8B/uMQhdYgA2o6FeuSwcGT9KQFH/2cXdOe+GAb47a07p5buYvPz/OD+kzSJ8/dvfsamqZbTVdWqGnX7ZB/w/eDNSKv2tAlxDUaBbGXSUFREPHuVyjbrGmQvAL+d4NeRlOlxknq5Va5CicSsoukFSLryMqvqR34VzkIKwxs0gYdIosr2HUiKzxom/sRC2Sb97Nv9Nf4bTN6W0icXlEMk4Oqidj8hSW06tbVa0C+Bz5VjBL9zt9wY5yOUYNTn0o2iG7Bd1HW3vCc7+GLfAAG24HVHH6INPQOyXiodN2Tdd2sKXZw6FfKSJaFXCT/16t2oHyx+fciNWNKnbgxrCGVbC3JABFJNCgTQsJ/XxizEyyucrs9CMiPrEoarfMqUfGwJlFt6zKC8pu2W1AcxmbY/ckiRCeyG3cPhHBQyxZtmjk/8sFsxJtTQA2edgMbqJhsJ2MtxV0nZSimWLYChUGJ4ZlnXInHWR/jeUh2yHacXsJRGujFul5kc+SLKpiWUsUDc/dT+2xZBMZpk+vFkdm/ge4C//LAj4Im4haor4XBLeEYgVlwiRNHkS5RVgmr9L+uITn4i4DWX8eSHRodB+jJh4KpUugKqW66GGqyLxnphycuxUp6kZKkThhuyfUyUWHvgr2tTR8sGJjwH8Cf/ypJUCOYgrR8dTD5RSUnwXZ3Y9RH5zSNsX7dEwifPwl9M1e4OgaaOX+SS5yXoUVzrXNcnM07Rr1nz0T3D9hxuqh+VvcBjcJArdkw0wWWgYwgW9M2QD4hK4xLSwaS6aK+uoWdYXvpJ6UEqsg8/UtuyfQ+1CGhiDXJaaX8ikXq6c527RMWc1noYCeDzc6XqgDRf8HrQKOxYlM7TFp3Gat0Trs3y+RL4uxfpFwubtqABvooQCHsrhzYmVYgcxeqOGWEC9TCWcbSmvO/qFgJhOarx22xRdBOz9j3Fci2cSgaVq0/cjdshxK3H5lyDI7n/KU4ws3Rb2+khDhP/gEstWWsgN9qjQoFpR3YJdziVjpGLmtI6wx0SPfIh8QLWiKh5UvWhvdA9H+0yK7V8ALqvWs5KeOCVTP9UqOV48iqEuA19Ad4pxJv1cfBFGJR8c+62CH+PQYSv62S9ZLrz/nQTfTNFe9RfNJMZch5dbRZNiprhhGc0LuZx3Nev05IiO5nVTdCFdJJ0jHfQOTJHXyU2HovWVmMVPCvJPyw3gSR2pVSq1/twMBTKU5Knd27DXsIEgtNP1NU2yGgWA7179VsH20HrRJPgskXoNn6LTgotsrfuSyEqpojJhTBAqkwdhFJIcYb0QJqUA5Pzc9Mb9Vw/Ul73PXjH062o7K+C3ozuhyvKxdNKx4EUDPw9BN0Iw0TnuIr7kckf0tthJzepcLGb2EB8wKWf9ot4xl2go6xNLkvA6/hNEooFEBTF9N1djpoRd4FhUnXRtiQVdDY2POXnz+pvkZYWfODGHhJKL2rNrECJkrhiRm8unX178pQJk5sufESsEFqirEsF2WjW8SP3qSsbn1HOWZoW0pOwRu0X83aKF6padDeRPyjDa4wa4XW2lqFJ0+0VlwzwiVfks4emxfjNWym3U0EiWgMJIqMNtjgLD8FVUi4afWk5Og5mLbjT8NvUdsBqfD4cnNOHLq/nWGjs1Qcb7ZnchgqiotVK0L3BhE0JNpnpA1rIAHExRuUP9CW7E32PhMwnpagLn0eIlU4+/wY564vvJXUdcrRTGJrE/hg/EUjdpJlkZDKE6pmd/DVcuXTAnIsfminXBvmrePoxkrTaI6zx13Uo8hdg45KS6QvWUmd3T+UhENRwFPsdDf1EVMBaFPDziYP2DvvSYxlFjDMrt6+CYxUZWb8+hnQ3sl7oVF3CD6Mym9U2IFdxIyu9zBpOzbrEHC0HsprQ9mQZGSpWlj/IRH94W9UQrVgeZgYRCXxhriYjAo28I9i3J4w17huS3aV1P6eSPPgRnXEUwKx5EjiWMgpdSIbcOY7GnN8Ee3JhqhClZi299HDDSIi1PerZJ1g6XGdqZcaiEj2Sb0usXch8O1S2nmjQFD/lNAiccqC2xp60nbBibBXYL9IRAnlAheZABgCPSwp0jPBxvQVa0W7EEvrQwGeqK1sLyoWj4IaE36YPTzsO/1U4GbJ54LoUukhKeZ/LpjhxN99zcs9Frsr4dud1dmKVZNJhcDIQI4nQhQNJGufyDY/4tU3x79Ucq9+fXvYb2OaJLf76gZvRjf+B9u0MpByodgN0Feuf0gGnSH2dURWhqbZ9rBiayMuibWETvC8vDfF/6AlfxBcy+bpKsEDCCq2ZfxWbrYRZes4OtsYwcFwZnB0PWm201ahfnGfenRbtejFgaxmolaakU/OtUrVp3e+Mot1sYzydXhtoSjYhJ+gcOqFkTiJqWWUBhdN/lGqF/1Z/bjAL4N5JgutGYRP/w1fCwwI+qZ4cFFn6CK5RVxBAeFxd8cNOfdY9Hhpe6lEVyirskodIHa6f7cDfqAsw2C9aToxbau9elfqRN02GyipwrwNU2v85bgrwzzXg/URvQ2fwlXryjMIbvGXxPUEzltvtAUdnKbxzqI4ELyjqdkxQfoLpmhZ9/iOXtyNl+nPAbWhFFvNZB5kTEv4ZXKShhNnIXIMk4+LyPB/FdmzDnbYOLMCN+kC9mI7Jg23Rwq+zDzXNmhPjSJXnBd9XUxNVGZ7MgzgDs1HmnJwXdwTZpVm3Fxzz6dtb5r/TOGZu2r5svJb8Mgo/GzShsibWf7fbnk37u9lNMZpj4ohL11V0tJyCpOIVKIvrDFATKCLIwmxk4Wg/pJVrgWlQZ6LahI7a8xwDsI3xgxDGXHez3pk4v859G2VRje/DB+60rNKIDmUVz6Jz/EM00Ucbu1Js3OOZl9qjqgC0dLngYvkJ4Ev2WGsaAET9Jfrmgsc7VXllRc1s98o+/1JTRXA+HIG6Ng6RuaPHpULL+D2J7ezAKgM9BpalCoQxkmyxo/htt7Co6cTsGibbKk2kGovfFvWiHlBlPFofUP0ZYY9EcyWbbt3vcGf4gVLk11+OP53so5rCdc1uwNzicVeVCK2O47fpSglTE8Z1wJ2aPlo/swOUS+5ow/xNKiKXjAJzIFRlQ9302epAkSde7qtcQtd2ob9r5NSgl59bkzNG3A8mlUbeyPP/XXVbPnkzdHihwPQ1GMvmeMb5RJbF1plP+2LjfRZAXVDPmMyuGEN/g3wzC9xOKmaN7+FU2WcKMfqER3vhsi5nQGOJCQCaOV3erYRMKocQBsgNRytIY9JKgm5ELUOrfFaEtNB3Samy+7HHBDIZLBWHmBXlfusxSc5i0t2cawRIpLgPAQl6m8Qt4jS6lsUhgkAPZTTUMwvNXO1IeET622Qyby07oCP6MVu2PL5H+Q1N7VkrDVejFnYn8QWbY7hq0JV+DhdIOve5rllmAZaysSLIxl1Uljj8LzdtxMBEonwdWPqGbB78kMEwjdsI7tTch0WcIvp/0tVpyk6j2AUOqp5iF5ZXzl9V0XNO6vTOVvPbtT7G8Tg8X9uYEuxWWAKzbAVtqb9zGinpYveNdZtWoD7LS9l1Xrow3FHEJifg4teOuka10EFYsHG74wSOpduBkZDGE7V7pUH+seX28iNl1PhLLcicnOfEt3pRoUuCDJtmMySGdgN5873Cvx3TuMDxk6FqM1wODfCPKdAhnPsPsrEOI1bL/2CcZGvwZp6mgV0khHR0BAnrgptRUiwUYUVZibk01vdPZwoJYs6n391ZUhaLLehxmugtvQfiMm4k+rx/1ZoI/hmtMqvzY8VIpvEBe0eIdJTjwVmMvcbOimFUWxpyU9fLO3QJEtPPIfUCOnQHtKzyYuTOKmpMmu6/Knbq+c0nuEMM80wRr1dfZRwCjxQExkCW6Pf8lQLSPAO7oE7F4fwApwsUrlKvOE5tGcNNUIAlXdYsNZoCQ7bgdyEMa6X02WddHHYdtQDlBBrDlx0tNClPFAa8+MKagQb0FERh3sQ4vuFfIiesPY7Yz7982DOTERvk2RYxkhtuVxTzliJbu7R4milfDdla6lzQfVT+sZbASSCQTS5wwf5i0Xq0NYfjHKQjY84Y8inj4rFBU5nOPfhV/Ib5n2THVPdID1Zwhwyq4PVRLORLS4V4SsQb9jocoAiqx96jImcbBq0wgeOfFQCzbIHh2dTWDTEpoxzJZQYccgVYSeGX6yXRLst2O9M8sARKHoQCJubaUP/6NXVsYBpCWzWPBlyP/1Q8q/gWq/2zNEXjHmg7+S4Y3P6wYbTIHPRPCPW1vrpWkEq4jHkhUqtbh+f5B2aI2f2KukxBa5u8ziD9CNOcfYYIiGx2d/YzF8t2vbVJ1FEVrV1NwK23oGgHXnfRBY4Ya33G8ifONpFtPjkj1m/qSjQx7JRrLxjN48NtiwxgcH7Pgs6oSkoHtT2aGFKvwydlGiYlZWUf56YZlAcXp8CW6jF8GyvzgPOwvMD/uHAQLYHawJcxi1Vnt8VvAwU/xK5yhT/n7xedrU7ZaoVfohFaZC651IOLSm7PWKIlne9/ara6iA2AxYyBsRhyQAQ5wf09yNVOKbX5IPx1XPXt983kpxihn9PD09NcreePhMvZkr2+C9FOq7FEzg5R1xIZY+67z4IDn3PZedxR0sfeUSxwI1btq3BhOfIwnyTsabbjvZomJOqTONZUUnwE1mfy2pH+MGGspGSvsGg8JPWI6u+lQyBAyK1nA8q9G6x8dVvbo/pCEwcPkxHVzNBr3wx3OxFdLSFjiosGLFY2DXw47oI9UQPAXAV5Mon/yujq8KWluTgV7M1uUIDorjXLbLQX7vWqQWW1smBUwjEo1NB5TH2k0b0bj0yNJrlqGqDpp8KoYhZbFA9tpoqI5+iCOqcSpscpZjwpImDCiPLTLMozv8Kx//9li5gM4S+Xk2Ndwf5/VS53Vn3VBtC5H59lVMgqe9EbrjIFNDHF4yaUCw+/XBsgoR5uSRhq6kr64bVUtr3oEdFHYpzD95O+fHnCR2cpzdAM6pvHHim5VGP4uRm6MJTjRiloAEMBKH9wIHylrZia5p+7nXLuQFaaCcaabQiIpRixRBHx8CWXaflDaEAQ20HVaqCD3Fmnhp0Uc5HLMLTLGRG4gPYwOssNS9umXwj0h/XhT4GrRb1SbwSY73NOC/+z4Ysy1NKmpvFwIG5YqxYLAEj6gM/mxioKFBg0ePa/eQEsMyM24WylEgNLFs9Lr6wp1c+DL7IeI8Gm0+g5EuedenE3vqnZ15diqLjepC0lZYy1Et0PC51SotNAt+sET20UFIL9miDiRalNGR1LYM8lrd7A10HWN5rlIzq2xCMqDnHX+KPHRwpwFUIPZFZkl5R2095Rp8EiaaYKnkQfyZk4EVBijhAd6O2gS031KeLipSyf2e+aSk+ZSmaM6AWHtIZ3O9URqWWTUSYJJVZVGs+M8QmUAoibi+5tgV3k+xRwOvIItDRI9AqpZ1XGbXyZjLJWXitE0RGmFoa4c3cQklDgJtyZFVJlLZGKH31JFZDRtO7IRzASHoy3rOfgLErqiuu1XU3q/3ep28JNq/xMVAywxKt1tNURDwjXW9E9a0/YBIXZQ4PWJN4bcsp08sB2RJbAZDvGnHIaQfrIFIZu6e2FleOVHuEOdVy2ZVVExNbO5EpmBguYQFf1A75ZVb3FFdWRG04qzZ5Brmz3OwGY5NCj4uxXzWc9pUOTks75+qjv8NXJjhEm7cbJnH4oCdL7I6t3TUE2HoJoevyzh6HVdDbdttcnisdnZSd2Ti/DAVDO9PbwNdJr74wBUHVLvea+yMOgBDDnBv8KQ/6ips8PPlIr0OcWZsOPy77mXiGlWKRuhQb05SYVZvTxJwddLzdRSo9txciC2y2+rgrhJOOYt8qRux7XfN2YTstZYgD/bvTPo1SXAnBlBDcYLCwGzxAFgqVNnGMox989OvDOlMU1u0OY68dfrwWOFa415f1+RmqHwWLndf3Uc+ChHXUlxzKLqhAd5VDnVPlvupGPh8QkFCaWYwxZs7RiTCyHns4WuXq8GZvzQRUOAfne+Kpevqj7m+IYHDHAxi3os08P484hhDNP2gnwaaOS/T4Cso3uvY+Xkp0sv/t7NuwCLPHAkv+oBf47rnlWZxr3mFBP5Mt6+42STt+rI/TkmQz7cw40RiAECZtnW8xKhB7n7Eser2fnFA9zo5qlICNjk9dZ7RZPnJE8xZAwhuNBxHnVr/dzQgnSJ9IlJ3nRVbJy3X0zu+zoHeH996sXnuSpnfx6yOTQddZUGiN02VNVeYDiqJzqfo0zC4eC1RdhNrpbwfBu7MSwvPoen9lUhdqFhA17D0+ED+CZjfAjMF3q4IazrlIsPdvWnPMZchK5CNLgbAJn6EYW7upYS35RsM587708FM3XuRC6ndTOx7kbP3MyesPbNPplByic2oE3Y9BUVy2Mzi0Gj73nX/5yeqYfEtk9WHlvGcUHIQq1Xuagi385g0OZj3QfIJlXtT0GOIZf+qO/z1MdSEVnrVEpse1fO9fKHvh2C0wDSWu1oEYEya+8UPGf/fxyqmkmr+QOJy7w9XEBwF1RW9JV+jBpP0uOtaGiyzbIFjsO7Qbcv1kQypzbbvm/1n+zkMlcpJ6yhiE66uYo3ayKmTS2dszALnaKtrPSf0oN0gPEQGsfOJyJ2T3zPzYW5Bn6O8AhRlHTT4x1Ol1iZ/LA3K3KX6X1liklRMqR2JIoMSwG8fAWLTSueCAouTEF3/Jw1CfbRTQRG84WPk3/57mOsaCQUuwYgeFdzavmxuy0UNIm51nTHGPDXE4aLuVfU46MKAWC966wWUW2lIaRkpDb1iN7cJ2V5ngj/JSxLQgZtxGhCcCtWz/kt8e3op8JoIjBMgYpR836YFMhPfUYwuspNGk6+tSuvtYPizmh9Ai8Iq6FFyWx+giwcj6wXHIDqAsP3QwigxprnDMya5ldJTVl+tTafH1UjbwG3z7zuw/4i0HKWMNamQKIpaZQxsu+RoupvC+rmTosfKabGEv8PdorhzS2oM0lGxNBLH0c0UxiTV8/0UCon3qpmMI9HoaD46QutLkT1n9FiWBuUMMl2FaI0aMuh3z60Mh2Vl9uihHgnxmCyqqKwsYl2s9BAiLqS6cZo21zt7uiaPMRkBgn+wolTiH9kv1ZJPeRNCvpbhUwL/pkAKTZfh4FSh5SLLBQYm3sNCge/PuoQRE1MFueBK7hB5Na7jD3Jt1fkpqbDz2RCo183dlf2nA9KYZa8lr/fDHLEAyFIYLxMs1k9DMemqSILOnGnTPYAneM4+HdVzAAYom9VPwnEBcj4P8hoaJMqiXU3mqSREnBY0hofx4wogmKfHPd6Yx+XdfQWuZ1UFTdWW/30QbR8go8/88mscd+tsebgRiCLlq90NFCjdiBj3exV871qTv6jseeLO5Fr2GzjgbitQ/Hgg/jGcirDwXsgSWU4Cqd8UDNqvXpwYgv//EYsjHPd/oXO6vo1FSaU4F9Ii3ZftzwDEJHuLuDtIV9QTDcbBWApioqX173j1kefzBEskHjyNAc8UeNkimfaUv34lZQa8in/xrWhwB7du5JI5k53z6B9HU9Pmythqev8srClsaut3G9HYx2Uzh5XeGGY/TbFPLzV1E1cAKbmc3WLj8llQm5sptUlqrvDkebXxycFDitxcGKc8NfU/ZzEb1CphkFUVkWx4vP/yupaDsrG1ki3aoP1+isJzZ1l+ocDhwxwWCCIznmV0PAx/RF4JbHzXqmKtIBGRNSWHLNtDpBrfPJa2Mg7sn+3qkyKTXeS43mApi2HYj+Yj3vfQXP10KSX0le6JWclI/hki1wGUTPi9f6le3VOCMrQhUTHC+2RkZPKXB9Je9ly5CVUv3yw9d8Mkh8HK9ZYRagNsH9jOEWzUr4RGpqOzbIclSbQlbdN9+ds7w89xOz3dxlf3X5rLUAtnSwbtddQqdZZC/xbpC3OodJ7l/eoNmeu1rsPlesFBY0CxSaNeQoFsk3Uj93l+1gfK6+5oPSiOa+wVvkggA5dqDVwQlVkxbZKyzYn0ZddN9Gi0pNdc+c8oq5gjbbxHEfMaMa6QEz4kkAs+yWkNgYK0325th1wxUBlcCiqGqhYYPHq6rNxPpNga7TgwyD2L72WFbUvjCHLGhmTV2pxsLs4wkWJK3DP6ks/U1HAxEe8+RbUm/LwqHNKt0PvqbFz6UZW9XKdgcXonHjVx8K9x7fgTwmMqmCVYdvC06Lc7Ka5pTHTTv8kMR9p8nwoVgwJfWeIsZupUf3t+bwX0+efosMtCox0G1e7Ea7cOgqEcup0l12ruwGFI18nA6rsWc3Rd7GiCOzV/pKoj7uO0nFGWmW0vmZN7OQArkF9HhRT/oCsnawnKIwqTPG83qR07PcCFzT01W82edr9zOV/Dd6GiZKzFmh47OB0S3lL6vy9ePRCsfPikUbuFLUUEdSWEJ99Bs7RDmFycYpJlhZR89J54M4e+dyA1qoOgWrQy8Mdkemld/txjZF/+QKzXAiejfDtg6JfpAAprcmwzT/FoE3UWi4lWbXLR+DfM/w6EYmzXYJGCisiWC3FCmL2o060uyAGKjBo4pHwS6Wbr4tjTZLFz0lavtW+JzKREYS60/lUM1WEgTMavdDin1YQrLbMkirWC6Bc7/i44P0urHPlBIQCm91szqrMNH0OjI6wY+3eGtBajQ81IAfEbmdshHYUsZPRJ4dliz+IcubjeFTfmEUEflGagwNGqZvnh5q4XZA2JA75Hre8AG7dq1vrnxco67sfQAjhI8lmZk8cXzcVtD/YciBQtUU08r2g4Cejvr8QT1GGLDvEXwsvYKLk7EDmJwzZMWwVeLzvUv/a2/kDsK7Ut8UCN3iiu2Q3dQHF9QoYT3lahh6G4U2AWqqHligGsNcC8bEqq2QWxi1vU69AUIhrIwZd+AxVqiERAw3lhQwCJueL8BGRt9CTOOJkmAE6JLpFuEIh1OfBcRw+DvkD3zxG0+hhkpqfiV35sjFZCMQUfJATNfgjxvrZeFmXwPWNjVLiVD9xODhCx6qEWZ5fOPWzixxoslAVZADeB7xIDueewGMma/90Ui514rO2jqBhB8CWViEf4KAEoN2wZmWUU9WO0XzBFbcl+ABS0/J4AF8CPvTCuxGx9OvNM1mTWusCRHo/FLRkvJQu7E7Exey7Hzj+3+SWSB/hEv/s9xe2SZ9s96rktvuB49ENvlVQ+q+zyZAYSw030oT1UJs3BR+9xjhUJL5fk76jKZvsnVjt8l6ZogH9hfIOUQg88SUZ7DaW9z+yGydmHkaycRB2SCKkTl4gHp0xi8+wKQhVRarnEKZBBw6Bmw62V5YhkUCJmLZDibmkDtVi+I5/5K7FsWUXZAMStIPcByCYJKZIO2PJ+aB+03VlIwHmn/z804YpQ2NOjxtRlwSUdoDt2v/bV5lN0rQe+xJXlRmvNknjFfNBg9vbfTrIfElbG/rfmVGIP906MJ1OVKaQbTjid0NucyhEKFZtZDKSA1lsB1dfdIqGHehMJGGcgT+A89jG+LedQx8HoLDD9klWiUYMbzt0rWuXxLpDx4kP4I96fl2BZVQPoy4I1M06rD2Lh1UJ6a+0nVgO6aCCqrRRZjwZyWFMx4K+eKSQ2w6murDDG3nQPxmbtr+zf1ApttMr4NBheGKNWAtVoMyWU8JqEg63g0apr+j1D5NzYeVBK3Wsz1BytCvc+dxT/h/sqBU5mjxAXvoYTBO0+StRvjk+SBUrhvzKesDCLvlaQxJQMOkf0VSFnpOGauXIwHyuvwHTRT/fbGRhPmDLPgGcB8nAWPHhwQ/PQATqZiu33Nt6asIZ/+arrdkf6bquGJd7LADfpDy/6Q2CfSTjZe4vZxQyCgsJfjfjN76UR0AUrt38ctF0d5aEyW+nJgEuPbT5bTeDVVZNSi75CuVlUU+So/mythalsApVlcCrFpyH0pEndqztL1tynPnjLAo5X+2VndnY4INeZXfxVAMedptADOdZGkdbB90qAUfrXIXCQJK310x033Ic/W5OgFsxXgYxcO9l9JB9/O+FICZ2ctB1iUsNGuqYWe05JpgcUX5kOImdMtN6LxEQIIuV2gQNKJmsEGnXSULuXDcnFq49ZQpJd4Wpg8KEXV1hwzbnyiglF+W4VtAILGGUbw32/EwvCXuguWbvb8t9/eKrdmZtlqZiwB8M68TIakLmCMY+lks9te+BpWi6wGhjSKCUeYof+fFmbgm1Ird3xGeAl4/1ZkyLh4CboQVlZX27CizMAiv/ua5lDs4/PDQrL0odUabkoARpjfZ2D+ioaGGEaXK9UXxr0Y8eckPNqEKNLSmUXjUD0qETgCArABfstSAkM1NtkDJcGX5qjXF3s82H2MAwv0ByCm3bbtDw8dI/bo/sDEwFBAtrRDafxYRB2voXzT0nL21ANi4NatddbuaWaYIe2NEQ7gLsFItGyUTwIfu3JQr2QF+49oUH19FqL7KyZ3wiHq02dLs4OXntqFKX65L+T7NgFiTv5fy72Wex4e8oXKoMtOIWNnjDS8NK9WMv6GJ/A2jPUVPnCRhI3xKTm+0GBsyUTr8b18v/DH2J0oSUBzvr1S79V14OfsdMKccEP90Pr8fqW6cT6TZe+3WGA3/uJNU5VmiL1QqEqw2ze+p2iV/J5NvIOO6ySR5sXh4FgHwMws+z3M2CM7ZrX/73Yx5oQHbBzazw8uIsHt8HWbsmJdvMef7TXoo8V79CGXbYN73k3P/YeXegS8Q1y6shK523vJZ4qtpKuDRT+LsCw8ltpKmDoSx9s9Pum/cj/N8eUsJt/3UUQ58lcf14lF95O7vL3fTfM05vE6nWYrPAi/h0aCzyuWH690ibIge/xxoZ7/vXZKbqpFBrLIJy6LCmnNSc8q7XeXkfPGSrdMQIFOo/ZYyKhyohd2BBvDxNZzNu0sybrv557RA8jtU9z+oKhCErwh1YU2YSevj/6dwn6Q9/bba8gXZk+t4Xq6naPI4F9FOLXRxg4QcK2jYufweHKwcxIObw0CgXbX4BUL4MBSxhDht8aI/SRcY6PhpZiwWJOce/8r2X3kx5a4aOb1u2re6votwC9zCJnt/6tP2ykf9J/Tom26cZtUmtFljLptsMT/Al8e/s3Sm6BRqGSrkGWdqTjrlNr9EOsSpkKsqPm4GpxtazWDeiivWloXgQZreK8V1L/iJJ9M8b2MOOHzY2Q8twSNxAXydtzxB8oq9lX0r4Mgz202mGBe+w/UBTLPDFmNYRt+Rf9wLbSmkKrk1Ew9Ue1bE759aWT/Iv35U3ZHDxtetnif+3VtBtZB/PehE+4WQlJzGNvK2EZ5JiC67i19GCj5/Y2CLouXJfDHyU9erp8G989s5EDD2+sMQhFbhI2OEjZ9iM6phTcuM8dUgHKTuaR1oKMgPT6ndCDyC4IJoDUKHSKaHGN79nTg8SP1JAWSkQysBlGCnehFyN/7RvEfOtSnAg973ETerUMDtr8bzvbnmg4YvFHhhdZUwW32txlwTTDX9xW2zy0EC2N7dn42GnGw/NjpjGkYpJMHYe+MKf3mfkGT/g0z9oyQFWEiLX71NXXqqqWtCPm0yag95riHveKl1C0w8L3vLkT41SISdC+5WjELEq6Qn0wcXIn3pRsYDfWvRzqYGDCiFlF7j6rWfArKjxeGzjsZ4+3PV+6nAVGGd4OJYwgaXRYjCX3sW1xWeBRi/2hms75B9oXid9LsenfMT/4sn+KiSzid6ZtcbhAjUd6EmmFnLizpLdUcE7hBF5Exl7hPM8LvsNmK28yGhDOgjuVVd6YPmaGUAPEqU0jdl94JfXIpU3P8jtRSHv/8zhJj44EzvfZ1A6UcNflv+m9ZMby5Ua8EH7LGsu+J8NXV72r/o0hQnTrO40ERsrbDFo4+vwhPHL72/K55181kwZhMnfurxxO0bTRJdGzRPPBQkCJWeK/7N3QnqkJfNYseN/blf4hjOQBB9nA7Mc8O1NsLUrYHVCmEQW4CHVRTUesEk5L4SPGmuUWYDVH+sjSlclNpjXjDQuCmLbQDqd+cGRVfB22xAEJYLK8NqmuQYgok9JY3hxOhVKgObdQlImZuIguCRXpwC/FIj+gxWT68MOWiWjXgvoylWRP2pEFNRmrEpRXBrNcLmI7xSPs3KBlNF1Wb2OKjqnj34qDGpf5iPeTF2ShLNOS+j8p/WN7ly1XgRV4+LhHIYtNvAEMRlKWW1nv4MkDCLdgpz/pNSyGriv2UcdScKcyeZs7ya/vg6r8NuOTNY2ZJ7HggEfXpudVprJhQKhjy0zR7nVNJdY6+zJhYJfNyemoErUv7xwGfgfK15R8zjJHYfRH3H9PlZ8a+t/Zw2wvs6HQeVRNZ0ssO5NMqkjNMPNADBcl1BXfA4YsUOg0ZA50meUKscJA48zU9awUd3d2g7MNeKIcUieET6w0ukdTdUsWbdpwBQnQAP0SThVVSEbmbA4trneYyzWlQr+aflXRiiIySHjBvAm4DVpAJGXv3jBCavftU4ZpVgy4EDm9baIy9/NxBoOcBc8078eE/nxWXNKrmgjFGWtYg7LHxFHi5glZzN7Ya6P6r4BDP9yDq7sCGWX8GLJKwptvnzrX/ngSQywwQ/5gE4MbR4J4c1BbfHssCvBfhQyCBGPsYvEi35K1WS5Tq1LoiR29WOEVUVcis6PEplStFVDgecmsWDdoPg6chiKrHyGF++bXkKQTgOHD1Ylo3PwYmDgGZ+fZbJYn6Q3nsT63l8MoNr0U4AVlwXvd+MN7sO4qe/A9oD90NExpjUsoLkO26Pn6zcN4B3CAaZLG66PxgpcTGsiddiacpErj+YeJQdXkblwNPY5YMIYG+tp0xoj3HXJzxTGesjK9h+nAqzpcMoagKL9sCPZrHCDUDpzjmY55nDsJD1ePu9ZzPLij7KkcXZ8x3OaZPpT0qK9xW9qYCL5wxmaj9p3lXNAZghNRsc7puBDk6ydyqvmrSMXj4iaixfCcLa1xifvEa8higx/qSlYkFTAeLlzRPVJ93zT2DIwunw9OGVZC3r2t5/uKdbtgzRdB1MDzoRhL8DQQ7hUqYiI35y+VeU6gcB4SEhe+jNh0HYGbhgMMt3uAuBjtRxjI+Eyrja0athkP9OXcOHclczXNAabVEbEnL0Wb7grJ9Rn2DmWqzzZ+SJIz2uJVvz5V33rZ+nvuSDpqFV4WmUE5SG32D34SkCNp5CioWTTHqDL46el2DpoXnBnc8joJcwaSKbQDDrEFLiMpBdha1+lfKb23a2vzuZIWDfhf+PezJLSZQ6mvYW0JVqxcMt+Uu6WwoO+g45zW2i3cLmfUFRWxsjbgdoKssSn6h1W0rnxLtpNzWk5WeAuAwXwk33qj7SRn5TpxQNcuIIe+5twrEd/471IBgXSSWNeGtan2T+bJShhwbwT2K7y+0l7fj/YVyIQeRkGlo/9DaEedIPZIw4+flbx6NI7qtrMP5/CeCmxYQyEGetXkp6eTBkoaxhA6Lh0AEDEcR2/890rCNybQSY1xBm+roEjhzN5MuhGizEbn7dDz632usZnYJtql4XqLizGYJjH26jSPNbXPWgP8PtoUMedWxeyNx+/yGa1DJH1wPMDFryzqPnPWZQwXio4xuaQmN0MEGzIPS+xkTDJFqeRwgu0fdHXUN3hcHwl5OTxRV4JWH9ruF0BdPRLlM9PS1b6jOD86z7WI7nxp57bR5g2RiP1P5xHABfS7ql/CSWV/9RIdWuyMBpimsS3Lhshq4yTQPD/z9uk+wElnSYWAKf0gkh/12c5pFUUm0Ys3jooPFsPSVjg6KwuwSPtMGHXQEUyganm3Nudpvg3lWR6xW5GJ+jAfgr9od0f4B3TtXBOCvNxT45ZGISaXTKcZZx3gaClzNcEV3y0Zw0Rv/oS4TtE/geNrfR/BU9qg/l8Sv0G7PzLoDH+H5JsZVv92TGXyWCLK/D3g8neH6yOtyfwHPpUYZAYtXmIqmgCQBl/hKyLU1buCuP4ldHkOhwUcqbWVVrrV5FvAUglj899B2Q5gMBAC8b7eHXEyFJmcO7l3nk3U9SOkg8ntcIXmMLuJEvEyvEuBcrrtLnowmlXIcOdPkQ9F8L5xS2RCUQdCs6r9QwFSS8c3cyR+fxh6dslOxvDuCTahCrgdHo47aMGM8ipWYCTzSdo8f/aW5UmyB9OMQkN4et7KLGIrTnWu66W2nr/i3W8/sxVDLQW8FeY7M0PcEYeOoVzS2XqWkm+/gZtL3dpgydqtCRZz3NPJubsXux/pB08EEroONdKbFV4L26TbQVXdYwf4Bj8ut5lJZoKoCxyo1H2i7QYcjY79ehqbPIsdsDBlX7l4JDlppiLSAr4MEarW+I1vdE5JTEN3q9smUfCrHIGtZP7Un73DbpJL6dSucONkhIE3TAhR0djbpcWxqbq5Ce2sbwQ2f6fhl2Qw8ivQtXho/8idCV44U7FvHHP2/lCzt8zo6WoeHLz13zOl/B4Ss9Quyuf2LJ2QR3VRS8/RDe6LYovPId3W0jJ7i9hqdwkhMOegwBzIqPQcDm9KZ7kqXW8gp6oba3qL2ld1r9cJTFqE475wRcY0brv7R4lmEQRChIEEFB5rhZR+p70XVtJMLA25Hqd1De4X4Y1Aa4nPspU0cb8FEvs4yf4n1ke+Tzh9hN3LYFnKDz71hhZMZcx9nTnPs8K23RVjG8tXA7VmAEEuTcQJnCovsga/rjOjUCp7XXpIjz7Fly6cuasU/8sm+l7jdEzSMIQYvcWcnn1aUwTIZLI/h/+fvc4V20EMTqy4UsjoSd3h3grufdWd/k7S66/xdO66r5sVhKVYkJxKMtMwsGUxuU0obwvGbBTBTDifgsd4MmDa08NbX2z8gPUDLOAeNNx9BwcIQwmJLKokwUE76H4K2qIuXRWPFFphPjioDs8Src/4bpOgULTBoXeeW8wNW8eajp2gdWGjDM51nuQmtPX3VsAa7xK16hFrLsRFDgWBJbR5t1G55K6N6Ge0dAiZCvki7Zt1HQZIwkkyuTWOL8IDDfn6y4aJLW5kqLFtLhHeGgiK5Emk1VadqpUXk5Zws2ktwpyxVcze0/y9gSCWS6uTTNvXf+jGdHPcBRb1e4UPfFBXHoHH649oYwmGMkKQKG4GaF5nKnkir3PByIoHRLuftt3pdnAVjKN8sUDRnFBG0ho1ucwqEX/RWpBRSDRwAihuE28KyI+LGXyQnFef0gpiV8vEAcN6Wv7h38aNQENZWE1anIKe12eO3ZxD66rRKStkcExjtBIqJ3bE1KFnvkeBy8Uq38RX2+MTlHv/9M1OC0DPCfVNYsG596jqyKI5dZ7Top54D4N+weZOcHkH90Q6MyEP6/GqvPqxx44eW+uhFIHnQshKXJxqxTD19+/A/rtWCazA6dzf+hZZuHakJ17Zr6chtcOJshJxZ/qZMl5BI6Jv927bZWAHhnMHZ2w0FNMJ5oY9j3jL/LQbji242Qdf5qpInhhOvQgNlSYEAEwqPGhYraOzuuAmHLAzFRYhYiwPjkRQgk7GwaRj/tKsmFRgbnognynBRmUH6cq9kJnheXub4WVhTkzO9S4Wn2AidmeVebfdijY0tgXtZqFpJZRgmP6l/YcFhjLSr8KaU4R/eL4w5/5ub0UIMq+T/hm98vg28D91w4Yi/E6hhgn7fQq4csoPv7Sg0QZ5vW3B9/Xcp5i1a5dFkFyWAEcUMn1+0yyFTebOkZDEb7URZcZw515hHGF9g67JUhYepg4tBAUmJ7PSAArBfdOCfIoZniArjEW/lwDOxLpwm4HL2PjHIatA+mVz9drtZhqyG1dqAq100FZH6dHTtTlRY9UxYRT3EWmxBbGZokxVau2bllQqLinHEgvhmrbZ4JEVSZXpOHIbinu9jx4ZQXzgUGnhGW2xJ+l/F8tE3zD3ybFhWZNqxTofdYF/djgh7JjKCd8wIoJY5e/9lERrDg6fNtqbtLr1g5Gle4HZAicFSWewC/PzyTLwF2BhnTkzfpDHYH7Zqa44Kqd25nGz/dso/rucq5eNW78O//K5tjhAZiykWcZJbjF5HMvAd899tMkm/RJHSzjTx/xoF73Ka7xreWRnRoos0Xr/10qgSrpGDI72GLRV2LGj8OAo+J3b6wBBS9bN9EWZWa0+h2lEEah9kXcj7dyOTYLREzlCOJKgIbNjHzQc42I/47M8fli6biSCOORpg4mI5XavKsPRSYgzy3q4LCC0CkDx2ylAXHB36jRGrsiFep9PnmXt+ojZSMtTXJoCh13wybQ1BlB8o6F9uEoKfErbJn8fEw11J9MamRSm5qV70uyGmj/+93+X2G16uIfTtwL6TEUwjoJ7L9gL90q6d3KmR/lTYaSaxRsbKCfSJMDDIZIlCjkF4p07B9+ceihzIG4giN/ksJC3X0b/wUGYRog4DkSex31sCR0GT0xjwQbRwkSW+0yDNa3Mx3D4SME5gMFZNuVLAOdoQZcxSof9BHODaJYOQQYIY55ImsOKVPzVxHrhYg8O/ODJig0k6vu/oeeZLwsMmXM7d4hb2btkTclXe9AfemgSQcADJOI401NMYSShCHj17ogGdNB6y2UiodtancfOzIrZQ0rsym94T8DN6LUDdE+Hj6WA8ZFh3Sy5/w1+p4KTEscGlsLc2Q9EIr+OUpU4E3EvqjGryF7xp0oHEXb4nm3YlFi42dV9Iq6FiikPgF1YCjHUSiWk8hFcYypLH1jxN/WWaCBaBbWiRYJSncnarlAYRhXN8SneyGDe6L+EYP6eOxOKIRZzjTd4Hb2uAZf+EGtENDUbpGG7pdUUeIoZpqRr2xV7Isz4neS5d0RaFh6mlMpJ9+/GXFAFx+DpBeO9OW+SAQth81jjgmy5DPBxSSAL1/oR/8SFYkxX7bwys0skEawFRtac/WjEG23EjH+ndlRUGDGMwST+ziFv4icKkWl5DvX0VMPAY/5tK2OaFPUaVrx8Tdamp1lzBuMrhXN4kgS8qbTBq76rVi9OOBB6n3wUrDYonqW0t74xUzLivWy0PzO6/CgiY5XOpPY+hTM5oU3NKAUI1zyGReiFouqzapjP8eLfT9b28ykEtTbbJJpr2KLGLtEQ7MnZx8deyZsDxtEIl4nOru5bepptZnzlIu1wcbLEGK18sbl0tIFBygVGv6uqBoJXtQa9uUy8k0Ivp4P8/sseBBw0/GFWPZZelhwkxBqk6cWKzBKYA78/6JjWB14Cd4c/I/83xpCxWLh6NiJE6KVOgdq3iMDH/VdHLe7NSPQoTVDs1HjNp8txn75qzDs8bFtyro8/sAGywceWlK4vGghcRij6ycuzs6upG0WnaHc4FR/x/hFQpIlSC56nqK1t0MnpVH3HiIS7VsGmQvv6UA5IgiSV7R1/lE5Rm2MsLyozLFnyjbBcVqf4IBRWeXcr4aFPkl35a7VqvP4xAuGdQQZkLps1vfa5W1zYI3BrpPYu/5FdGgW/t75zpo9kR8XdXRlDT4Dq5dweI68rl0DOic7TSWXjFV1fE+5ojytRvjCT7Jt3UzRk10LiIJz3PDuEpQ6I37X0H/BZjeKKC+YkYHWEAt6xPuWCJxCs4HHNv1iDIGJ5AgcT3nYUwpprUSmdaW69X04/FWy+c1ulmfxBadoayqqWcpyK+OR47rlCSRJubYcjrv7LxgbejQBGM3JxLoYNIDm4dQEp/5JMUGja4DkV+YkbKp2dn8ae4dHIpiBZgzt3mXj+6BmRnQpzx+EZr8WbgS03nD8ZzoQUXSHUMONaAmU+etlHOsGZAc1ttwF8JE7wMo2/hpuYJ2aCrmO4BoTX6wsQrWNsWjAlCxuUnn1TEOLJS5Gd0KD9P3QEy7hkxsroOZWr6BTUnJtp9ORrBFozOJTBb5X3lp7orW51dOuh9X+BUP8Wdh6DhUO40AuKFIpbVpe/OUNXYD1eyUfq2PHG6avyRShxxL+6Dy6c2J+ZzLjTy//bC4Hmcd97ImO1p/3vXghgPZAFYtMfK1ykEh/L5s+/Ar/+IapszuBUZZdvOpyK9B7lVFxFwsjK6gTQRFcnb9TBMGROziqRx0PnfD+pou/9uijT8O9bGOzclQ2jvAy+ZzXW1iJjGCatinnVk6kiwghzfqufVvhEosyEjM3R/fHbxWxsQwqrG0FvjU4ZnSTazgXnZAP60++W/Fu8/oCyLrJDn6qrDH71sZwbdNW1k/BePG3ijg575458FUXBy0mbCEsoN44YHd7Obv/dRHtJk2hpjQ0HXk6tLBfbIGqwrREFMQV6HRSuFgtE3w9y6HDompN/kUbK4+uwRozjt+uinQQdkJApJktCbc6RP3QFWQMxlxqfGGng8S95TztI/1LdmYWqvzqUfJTf4ppa/XIjqzZOQ+tlNf7VzSQgKaH6uGhVQ3CA7fj270UYePO5OhXnpHZUDf63bLEVHQ6kN+hVdCtVo8wPXYttvYFskQM6O3Ml4lY1ITaSgLMdBv3XoIsPOMHOiLcJdz+hTv4sNt58AMobfiwt+f1VtDe5azmuKPVt5TkdPvVlzA6/+gNXS1ov2jC+/vesQ86ebes3YMU2NjPk+NwmBfmRgftsZxQG9nj7w+isPsuIaUXZmcx8F1kRp72EWSfkZxfcfhTQB98D0QMLn0xafDPDssuHtUV1XuNQLBCOoETtxjbtId/q7KKrO0ctPE+C+qgjErXMxc28OPMKvBmzgAZPf7hwYWGrTJ9r5/D64tHD+gnf5l2jHm71nGd4K4K3mxj0lLcqbWegdkWN7q2/B1oT9M4RE+IoZS1yV/OWdimVuI1Itxvp9mjZokHTEJsoIU8BaE4B6/m3JrXsflY2zTQYttpdyzFOPX9ezUwKZyqUsaEH2MXmOP8L7j2ddqL2DuQdNy5ZbfoIHF9Ytfyt5LYIrC6N2ddn+c97ONs8tJ0PkBwokE/+rUaRNbGRlo9w9s3MJQQsI9j/VhvSavPoAok8kicZsjgVMyu5i0vIY7lU+6K6pSJPa3NBq2+3WCAwUKJHg7B2OOp9hNyUlsliHu/bQE0RJeIxX3ROgqtWybvy/N2/3tJDDb4nr87NnezR0VFA8QrKU+i+WEAqvJWX2dU45vljxEaAbOZg/AdQaY0htOWSJ+6OhcAFGWQPLCUmda/891wpZoqwlUEH95P94n+1LdCp8YvoYgJhKP+fTR73MzLA+1Hux3ci7PucXthKCmM8keYS/rW5julJqxKLirOJZE5qvOHy01G7MbjZNHdu7lIeHMndMSXV3oYPXJIYubFbQWCVEKKt1GTsXl2AUkiSPLmFYsnLR6E2uoTzVcLWYlo27ORfgMPW4iQfubLNb7+qtOil7BsbBv2cu8YwwNE7Z1nVmtTO2PVHaege1B0omFQL1UpBuLKW5otgw5TCUHsgPiPSv+Rl3rUIFEx4jRBqN9t/ltH0n7MlVZk+cY4uvfQvPTnrQhc1DZPbq5tMuwi9vTdJgiv5KPN3CjDqX1RR1QkdSxlGa1raGCOD9rf9C5bVrTh62hh2HFQx3FI8Oz9Di7nZAz2c9O6gIxZVY4cdKrHsZiMLL6RoyoXPkjs0E3LLVyk6JKPDjAeVuZxhTIJSBTAXSRKO2xP4sZUkOv4QAc7a3D6PBJclvui3RP6M6W7HOeSClS7AqGK0EzQsLDvsMy1yOF1DxZKhYjIaXKeYiOAdi9HbpeRKh2kt/TVbsxYHyGfVjRETB89IOQ3D2bf/l2B8fihOKt1Lfe/gQEB18oC4+Q9R7AWi8I8mXmw6H6XPpcdCSVcnZM9efqL2pipnMzyst6r8mb6JU6Y7+dV2qQbxrab4L4ScAIhv/TkrYOcuu6sCjBsKC1zxT+zUEXAj9b5GFzQ5KiAgYwwQgtRD+ZnRt1FpJhn0cFLDA2Kyovxuk8B7HwaGPwNJeTadOgT3JNSFbEBz4GJPBtEviuzuDv3J5ZPgnoRYamlTFFH7Ff5o1U6jG1fuVXqIKPiCNJvoFbiQF/e6JrXUKD8hymzcNKiLPdSDKcn5MDaL/tvkhWBHBWjfOT3kxRNFeQQ7xTBeay6XOlRwDlIaBUXSlVgC3hTKIf4yfpooiembDIelEOVfjNSeyaXqIexQ/NrJcXzL2Szrb8W5GP/F7ZFN9gMNozbRN3iZAsprNkQw5GpovIDM2DNlKc6CUHeuMmtKVzuHpG6esVoIGBVBR+St1XXQWgOu69CE38t7Fz6lGZJXsyH883jCEatS8YtxiMj8KwS+9xUggOrZwbykMaFnBdM/Y1IgdotNmbsIAetbNOgwQTeTWZjbyU91Hd9mfdBOgvOMoTwIYyMwxINuyML0GQC3eERPpz0qPZ9GLO1k/Ofnzhywfme6eVNSa5KavL29eNk9E9jTukPC0vz79YBMao4NG7X3ZkodQQKLaxSW3lvOL/YrhrNYm33ZMIRsDkFwpS2TslzFHx4UidaujEPo1OA2UrrWT/rBfsZzVkBjVKiNMaLUEsezlrNPXSrYSMB+jUkVYhOY7gsAqo2LDq8pjKOtZZw/4kOgRv8nZnKrJ4Wujh/8uYwEsvenoSjnHsAdluqZaAsUQ2S51QxgFoAqSiv/mtu8i4rZSc/Bw8c36mMTMeht0P77C9qpV9c5F7HU6nGNecyDEquS4bGEeZ+w7W5aX4X0Cjrjg0Q0HFvhMnf5+zP6D94h5LcMVmOv0hehqFWjN3sGKP6TANLBf33kpPk+SxfbE8w8NeSOQ1fpesS/HedjFPUU3qpn8bXyLpRum/PNE03hgjIk4BNHOV07RZZoFzUunqv7EVpGLfsxz9OWcYx23+iiuMrd3ukXtAfDqmOrn8MwjHYnIaM23J83i30hrLF3aA11Y4wWlJhV+xKI1Vs24ypuBn0xfS1NepHTQoZXAD1IaQiBcU40DF7iSCV9GQKzxSzdve86mFzsqqN+dxio6/xNmPq8o9X/3VY5antz38OVwM9PaMfCOqvYbeuFcd/SXrAptICkAW9AXmCnRLEXLxSzQuV8AlvkmW/eS3jBPqT+RZ1VE4sabkOdEbZw3iYcjHDg1SEBtXrLnHN4G7oX1YLp9W/9j1vuTp6qxafwt6AyVr4ciYioZM/txgvAJNxJOl5aQjYY5KAYXdSqYbdiZxo3YMVCOZIlx7W8NtJlTDYotwzysNCu3fb3kvYJwTT9laTGMrpCXxxrSGbGrMvMcCIrdcjYJhzSxP0OWY6IKQae5vRO/w3kGsU3zKK3U271EEQNsNkxhouPpLODCwZwYD6gTfkI3cN6nqo7KSqeCHsRlVqcFY3JbhjFKVK1dUZsAs/C652vYwnstpGxaAPRWvoW2mG2FQ7MHYC2HjAtRCN9ILqi3S0/n04lPLznh0X0Mlkkl5U9OGQdAnZoQ8Y+usR5okK36a/3P6COuDbRR+rwzukOXAadg+5QmNwRUIYNQN7cEs4i0mYulqpcnIhv/jAnADeKLLFvMZgirlZBBcPWL2ZgDlp2Bm9yB1c6t57nQyHF/sdykG0vHMNQrboBVccDdpvLEgaOeiEF9gFg2LPd6s0Tc1hMVSzR9qfdU02oqbXBSPLtff8/C8NSK4X01cUz76x/1aQCQLkDDQGFSFBFBJfbG0uNu7xxCG8zVvEPeoLe9UXAPcT4e/B1aU0LO2xSOpA6Fc22wKy8hko8gWUOebRoY/KpuDD+ZjrQ3BHVawcTmiofv/vQZ/0VYFPaXO1NmSnc7BWuZeUg3GHJRQotL1afMTIbc0VqfLhT/Gy6GKsrjYi0YAvmKpt54LKEexATEcVs04wVLITxuinP5ji8VSSBpBnsPk076J3N5ImOiQiKRzXKgSxK1FgGJoQpOKuPqQkt87iDQyy6odV93x/SXW2taKPiZ50vxdKrSxz6XaFwp5smK8FT1ovHmYKHyVn1wuA9QFbherYflcxesbqkp2wm7iYf6PxZl6CgeNeF0XLl+ZGNaCMei6R7oDzdC3b7f4Y0z9fGze1xBUMOYa64fCn2oOt/osW32dp8daQLaTmquaUKZ1sF2s3AFeKtru843elUIbwINrNuBcA/Q7GdsEHj0ebwwd/+jUuUZy7nN8dW+tV0hyD64CvyNglbaLFFCbEYSlw6REVkYWa6v8Np8W2jQoJ1YH0YpKfx25bhNTpNKoFnL2kAA4cPbCCxl/BW/S3UZI+Q+zGmRxvZBPEFG3hWqHZm9D+f14dR9t0f6U40k92clnMyK5u0YufOAUQn1RZ2C74wadxWW/y1PZ4rBbZJNV4fgqdWTmkssezZSV0dlADKdmClddvPz/GIkL70e78y4LWjYvPCyk6Y7fsvYoX6et4uEZmfs4ivgvt022Tmt45vgaHUyFrcUe9E8etwjh0wSjx/nM9LqkicONk15xIGi0vaudwxbM8t3OoMSCk26u7tPnAyrvMIUIqlpST5mJ1Ba5T/fa9YsaHNymdqWdKIch7nH7iNZwCHJIHCxG4qZgKxVpAihuZHIIur1jp4Bdnj7D+7nitb4gLdx+Qx9IoPpSUup6G6olEouC8BVm5fY7XVjIpkjcSqSpgK28tw24sujNOfX4qXaZSlI/g3cEVkIfDqiI9PhJXMDTaULxViFTOelsds9e4/aNeCMGexYQgWE8cpbGc7ngrioFRDmhIyTR/TnNR2AAaKhP3+2xn+y94YaHgj2LJ4jfEG/SRpLk8Ef9TYaYYRC7btMatsQH8SJPDMVNH3jICttmQrmV7hzjGJAdc48BHJHhq+bOvFT5qWn0mEhi7EWN8WC6DrqqsE7aJVpk820tQuZG7WAJa5x5Rs2SPcfiaogGTQ4asol+lS19RfiKD/hsV3UNsN/rQplzwkADuqRdH6i1ys/7q6I86dCWH0e5NPrs013HaeD1ffTbeNOWtmO+a+Mby7FSu5trZQKLy4Gzmao5GyGuR3ZgRuwfb1vGGUpoG3IMr2tufcYosfFEtWUMFkq0hDiTS6EygI/T74Znrdz+cx3Nh105H8ltjs406FGkxPZ9TKvLElUjnwyIZJg4WKLnWktTRkQNogYUD8zEbI/lvMdhAnImphV4iRyUjCYJ9SNg+QBsNX6JVyoin7BYzrupGYbrdAaMvRPa9uNgSOVmwb5nzEC6eJDxGjoNTt+qtoTJ/iIZ/oBj8EMYF8DIWwF3unjSB3DbURQUd35pLLnw6wae7uK4xc5pJZz8xBnvk1YP8/k2SlvfhryuxSNJfZA7qPElSc9h+SzJCLxPpXvzPUtZDuudb3Pa9YouiqnYSSbeZ46uvJU6hxgyuuXVDW+/nGI8tMJIc4oE3STsMxKiS+IrUUYBwCIcnsSmGARazBO21eJlLu7XfsC0Ar5aR/taCtqRwgKce3A+tZrbWdeMF2nElNOVXwDiEjAgarTbdmEgKU3dK1sLnu8az4rdWRUSfgxB4HSqD1rQmBA0BbO+Bvs+Pjpph+aSaGE3UtF/XPX5SMdtg4kPRxvfb53Y8Kc8ckIZcGqq5sE4kjLcJ92dXooLLVVD0WDKjnP0yaqep9R0wxRL6VVx0VDDXpRh7kzZukCvNDeWTZdUbGB5HjYnldqTby5rEoPCXmLbLmzfgY1E8NM4QanUMvx13RJtFCfSfpJ954+jiqCOwx86IBuOtK3pKu04g6LjFZsqoQ8cStX0TIgylEIOq3+FheYm9kd7bDeT5l6d3RxZNqQ6uXeNRWMRqS5m/+qYcyK2I8EK+QtUNdVCjkSeqDiQ5z41fIuL52U8Ko9M9h7rM41WHVHegO0J1ZJLCuRkk8VNZuQU8GeofqMlaMHALJrV/d2A4/zIkCDcuZli+SiON7HPa3XAarHENFgmNQiT6v0wnca7jCBZwDcHB71J2C9Ck4Ky4pVVsNHJGBhXrwsx/fOIvqYOAGtyN6Yukq7nLVHb65DZoSbL81ti6uFcTVYnBmbpNWjVP4TzXnOHmxFigX8i+GL1rw93La/4Wrq7bxVrORgZHJsIWCXh/zeOfzSy44zLXwzC5CmU5mvbOIs6c1eNmovHUK7bODvbWLkvWoPJUkdVnQso3jCvhbasP//McrYxmrCg3y1KwVv1fxK2LhXjXMksC/6uTFUsGtg+3oNlgrRK1GHT+1QOHvcCZJ6X+2A6f1pHD+h3z4421LnWrM7Pxciw0N+K8oo1IKVFC4BcfkO8/XVB64YFFjx2dBwbwUOMkdpcOdsLey+ned6WW0punKgofTlPeskm8DkII1yqPx94UDUeWUi4v1W2S/FyNy0+nwzXyvy1WW7P6pULO2pJrJGcG3qkHolwqGyTGkm+2aLHCm1il3I0oX8128NKqZFuZW6PjffQ3a6XB3zk8pT9QF3kIKJJqbdARptpgkcvrYmt7ARr9RVELmffBkBQhA32ATka44F7A0P7jpphuQ0RmacfjCyMz1p4IlgCclXatWYgwHqiWACzEFI+jrsgqowjxJSqkts8u0TbCOn+9O/tTiBDForvLPzWuxBwct2flatZc9Yz92V+5oYPwGqEpIkOvbyRfXu3ZYArfQYTC9Xbqw6lk/ZQEAfep/U/ueQZ7FyhexnujH4voP9o4nZWjwARnMTLA9ZUd/uxEPJYlfHyE07byhOzNbIYXLa2ZxM3O6sOQvBzdNANBnMEMi9Wc+Grakl4CqeyiV/Hj44aSyV77KikwOFvYrT2Aq1SCLkyNcycROqecp54/1ObYv8BI9FSwXTDCEvRsr7rHoiSIlLUwIqOCxYWFnhS97ZELu7PfhgrDwe99zMKPsakcw6yzNPeAGXxvVzxPHF15nombV/jQwmWLVIn+nKk/i/3c3Mcd229IpXgAamQZPfVyQwBt0dk+2pSlAQWD3dypD+jTGIB8OD3ecTkwm6UmUwdrU8OMBHi4VxElVZ9TAqjI2e4uO2cn0f3wBptLuaNYoOsjqVgUHZxy/pEqhkEy9mDDy2s+M6RumhpzA/61XUEvxud5lHL6e4VWO4a3FuN0pvkzxl1MHg4cUdHAHK5gWuRSe8MsBAN0bfQJxazUu0saTSTRBXnteNiTiJetRbqTXqM527T4Ctl3dew5uJWa7YFFDbR/Muc8OEPiWbi1E83LDeB4zajjnpD5WZQ==">
            <a:extLst>
              <a:ext uri="{FF2B5EF4-FFF2-40B4-BE49-F238E27FC236}">
                <a16:creationId xmlns:a16="http://schemas.microsoft.com/office/drawing/2014/main" id="{C369B846-913D-7FFC-5044-489EFE0ED8EB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6362491" y="2560570"/>
            <a:ext cx="5492562" cy="3754755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EC9FB-4788-7CF3-9640-3B1E7538B72E}"/>
              </a:ext>
            </a:extLst>
          </p:cNvPr>
          <p:cNvSpPr/>
          <p:nvPr/>
        </p:nvSpPr>
        <p:spPr bwMode="gray">
          <a:xfrm>
            <a:off x="330203" y="1988328"/>
            <a:ext cx="11522069" cy="449811"/>
          </a:xfrm>
          <a:prstGeom prst="rect">
            <a:avLst/>
          </a:prstGeom>
          <a:solidFill>
            <a:srgbClr val="D6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900" b="1" i="1">
                <a:solidFill>
                  <a:srgbClr val="000000"/>
                </a:solidFill>
              </a:rPr>
              <a:t>Q:</a:t>
            </a:r>
            <a:r>
              <a:rPr lang="en-US" sz="900" i="1">
                <a:solidFill>
                  <a:srgbClr val="000000"/>
                </a:solidFill>
              </a:rPr>
              <a:t> </a:t>
            </a:r>
            <a:r>
              <a:rPr lang="en-US" sz="900" b="1" i="1">
                <a:solidFill>
                  <a:srgbClr val="000000"/>
                </a:solidFill>
              </a:rPr>
              <a:t>Prior to adopting &lt;vendor&gt;, what type of IT Service Management (&lt;ITSM&gt;) solution</a:t>
            </a:r>
            <a:r>
              <a:rPr lang="en-US" sz="900" i="1">
                <a:solidFill>
                  <a:srgbClr val="000000"/>
                </a:solidFill>
              </a:rPr>
              <a:t> did your organization use?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900" i="1">
                <a:solidFill>
                  <a:srgbClr val="000000"/>
                </a:solidFill>
              </a:rPr>
              <a:t>Q: </a:t>
            </a:r>
            <a:r>
              <a:rPr lang="en-US" sz="900" b="1" i="1">
                <a:solidFill>
                  <a:srgbClr val="000000"/>
                </a:solidFill>
              </a:rPr>
              <a:t>In what year did your company begin using primary vendor</a:t>
            </a:r>
            <a:r>
              <a:rPr lang="en-US" sz="900" i="1">
                <a:solidFill>
                  <a:srgbClr val="000000"/>
                </a:solidFill>
              </a:rPr>
              <a:t>? </a:t>
            </a:r>
          </a:p>
        </p:txBody>
      </p:sp>
      <p:sp>
        <p:nvSpPr>
          <p:cNvPr id="9" name="btfpNotesBox537015">
            <a:extLst>
              <a:ext uri="{FF2B5EF4-FFF2-40B4-BE49-F238E27FC236}">
                <a16:creationId xmlns:a16="http://schemas.microsoft.com/office/drawing/2014/main" id="{7965C0B1-F8D8-1D1B-5212-FAC40E22D263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Respondents marking ”Unsure” have not been shown on the first bar of both the char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</a:t>
            </a:r>
          </a:p>
        </p:txBody>
      </p:sp>
      <p:grpSp>
        <p:nvGrpSpPr>
          <p:cNvPr id="3" name="btfpRunningAgenda2Level301519">
            <a:extLst>
              <a:ext uri="{FF2B5EF4-FFF2-40B4-BE49-F238E27FC236}">
                <a16:creationId xmlns:a16="http://schemas.microsoft.com/office/drawing/2014/main" id="{F7762967-4E57-6493-D5A0-C49CE34BD0D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944429"/>
            <a:ext cx="7234191" cy="257442"/>
            <a:chOff x="0" y="876300"/>
            <a:chExt cx="7234191" cy="257442"/>
          </a:xfrm>
        </p:grpSpPr>
        <p:sp>
          <p:nvSpPr>
            <p:cNvPr id="5" name="btfpRunningAgenda2LevelBarLeft301519">
              <a:extLst>
                <a:ext uri="{FF2B5EF4-FFF2-40B4-BE49-F238E27FC236}">
                  <a16:creationId xmlns:a16="http://schemas.microsoft.com/office/drawing/2014/main" id="{91FA59AB-D2BB-9ADC-DAE6-65B011D3D991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RunningAgenda2LevelTextLeft301519">
              <a:extLst>
                <a:ext uri="{FF2B5EF4-FFF2-40B4-BE49-F238E27FC236}">
                  <a16:creationId xmlns:a16="http://schemas.microsoft.com/office/drawing/2014/main" id="{A143DCC0-B809-5885-6FEA-78BAA606DCAD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12" name="btfpRunningAgenda2LevelBarRight301519">
              <a:extLst>
                <a:ext uri="{FF2B5EF4-FFF2-40B4-BE49-F238E27FC236}">
                  <a16:creationId xmlns:a16="http://schemas.microsoft.com/office/drawing/2014/main" id="{9295B236-D0A5-218F-5504-3537DC49D0E4}"/>
                </a:ext>
              </a:extLst>
            </p:cNvPr>
            <p:cNvSpPr/>
            <p:nvPr/>
          </p:nvSpPr>
          <p:spPr bwMode="gray">
            <a:xfrm>
              <a:off x="3903343" y="876300"/>
              <a:ext cx="3233284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34772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0 w 934772"/>
                <a:gd name="connsiteY2" fmla="*/ 257442 h 257442"/>
                <a:gd name="connsiteX3" fmla="*/ 54722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1112704 w 1112704"/>
                <a:gd name="connsiteY0" fmla="*/ 0 h 257442"/>
                <a:gd name="connsiteX1" fmla="*/ 880050 w 1112704"/>
                <a:gd name="connsiteY1" fmla="*/ 257442 h 257442"/>
                <a:gd name="connsiteX2" fmla="*/ 0 w 1112704"/>
                <a:gd name="connsiteY2" fmla="*/ 257442 h 257442"/>
                <a:gd name="connsiteX3" fmla="*/ 54721 w 1112704"/>
                <a:gd name="connsiteY3" fmla="*/ 0 h 257442"/>
                <a:gd name="connsiteX0" fmla="*/ 1112704 w 1112704"/>
                <a:gd name="connsiteY0" fmla="*/ 0 h 257442"/>
                <a:gd name="connsiteX1" fmla="*/ 1057982 w 1112704"/>
                <a:gd name="connsiteY1" fmla="*/ 257442 h 257442"/>
                <a:gd name="connsiteX2" fmla="*/ 0 w 1112704"/>
                <a:gd name="connsiteY2" fmla="*/ 257442 h 257442"/>
                <a:gd name="connsiteX3" fmla="*/ 54721 w 1112704"/>
                <a:gd name="connsiteY3" fmla="*/ 0 h 257442"/>
                <a:gd name="connsiteX0" fmla="*/ 1112705 w 1112705"/>
                <a:gd name="connsiteY0" fmla="*/ 0 h 257442"/>
                <a:gd name="connsiteX1" fmla="*/ 1057983 w 1112705"/>
                <a:gd name="connsiteY1" fmla="*/ 257442 h 257442"/>
                <a:gd name="connsiteX2" fmla="*/ 0 w 1112705"/>
                <a:gd name="connsiteY2" fmla="*/ 257442 h 257442"/>
                <a:gd name="connsiteX3" fmla="*/ 54722 w 1112705"/>
                <a:gd name="connsiteY3" fmla="*/ 0 h 257442"/>
                <a:gd name="connsiteX0" fmla="*/ 1112705 w 1112705"/>
                <a:gd name="connsiteY0" fmla="*/ 0 h 257442"/>
                <a:gd name="connsiteX1" fmla="*/ 1057983 w 1112705"/>
                <a:gd name="connsiteY1" fmla="*/ 257442 h 257442"/>
                <a:gd name="connsiteX2" fmla="*/ 0 w 1112705"/>
                <a:gd name="connsiteY2" fmla="*/ 257442 h 257442"/>
                <a:gd name="connsiteX3" fmla="*/ 54722 w 1112705"/>
                <a:gd name="connsiteY3" fmla="*/ 0 h 257442"/>
                <a:gd name="connsiteX0" fmla="*/ 1281021 w 1281021"/>
                <a:gd name="connsiteY0" fmla="*/ 0 h 257442"/>
                <a:gd name="connsiteX1" fmla="*/ 1057983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1 w 1281021"/>
                <a:gd name="connsiteY0" fmla="*/ 0 h 257442"/>
                <a:gd name="connsiteX1" fmla="*/ 1226300 w 1281021"/>
                <a:gd name="connsiteY1" fmla="*/ 257442 h 257442"/>
                <a:gd name="connsiteX2" fmla="*/ 0 w 1281021"/>
                <a:gd name="connsiteY2" fmla="*/ 257442 h 257442"/>
                <a:gd name="connsiteX3" fmla="*/ 54722 w 1281021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1 w 1281020"/>
                <a:gd name="connsiteY3" fmla="*/ 0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0 w 1281020"/>
                <a:gd name="connsiteY2" fmla="*/ 257442 h 257442"/>
                <a:gd name="connsiteX3" fmla="*/ 54720 w 1281020"/>
                <a:gd name="connsiteY3" fmla="*/ 0 h 257442"/>
                <a:gd name="connsiteX0" fmla="*/ 1593604 w 1593604"/>
                <a:gd name="connsiteY0" fmla="*/ 0 h 257442"/>
                <a:gd name="connsiteX1" fmla="*/ 1226299 w 1593604"/>
                <a:gd name="connsiteY1" fmla="*/ 257442 h 257442"/>
                <a:gd name="connsiteX2" fmla="*/ 0 w 1593604"/>
                <a:gd name="connsiteY2" fmla="*/ 257442 h 257442"/>
                <a:gd name="connsiteX3" fmla="*/ 54720 w 1593604"/>
                <a:gd name="connsiteY3" fmla="*/ 0 h 257442"/>
                <a:gd name="connsiteX0" fmla="*/ 1593604 w 1593604"/>
                <a:gd name="connsiteY0" fmla="*/ 0 h 257442"/>
                <a:gd name="connsiteX1" fmla="*/ 1538883 w 1593604"/>
                <a:gd name="connsiteY1" fmla="*/ 257442 h 257442"/>
                <a:gd name="connsiteX2" fmla="*/ 0 w 1593604"/>
                <a:gd name="connsiteY2" fmla="*/ 257442 h 257442"/>
                <a:gd name="connsiteX3" fmla="*/ 54720 w 1593604"/>
                <a:gd name="connsiteY3" fmla="*/ 0 h 257442"/>
                <a:gd name="connsiteX0" fmla="*/ 1593605 w 1593605"/>
                <a:gd name="connsiteY0" fmla="*/ 0 h 257442"/>
                <a:gd name="connsiteX1" fmla="*/ 1538884 w 1593605"/>
                <a:gd name="connsiteY1" fmla="*/ 257442 h 257442"/>
                <a:gd name="connsiteX2" fmla="*/ 0 w 1593605"/>
                <a:gd name="connsiteY2" fmla="*/ 257442 h 257442"/>
                <a:gd name="connsiteX3" fmla="*/ 54721 w 1593605"/>
                <a:gd name="connsiteY3" fmla="*/ 0 h 257442"/>
                <a:gd name="connsiteX0" fmla="*/ 1593605 w 1593605"/>
                <a:gd name="connsiteY0" fmla="*/ 0 h 257442"/>
                <a:gd name="connsiteX1" fmla="*/ 1538884 w 1593605"/>
                <a:gd name="connsiteY1" fmla="*/ 257442 h 257442"/>
                <a:gd name="connsiteX2" fmla="*/ 0 w 1593605"/>
                <a:gd name="connsiteY2" fmla="*/ 257442 h 257442"/>
                <a:gd name="connsiteX3" fmla="*/ 54722 w 1593605"/>
                <a:gd name="connsiteY3" fmla="*/ 0 h 257442"/>
                <a:gd name="connsiteX0" fmla="*/ 950802 w 1538884"/>
                <a:gd name="connsiteY0" fmla="*/ 0 h 257442"/>
                <a:gd name="connsiteX1" fmla="*/ 1538884 w 1538884"/>
                <a:gd name="connsiteY1" fmla="*/ 257442 h 257442"/>
                <a:gd name="connsiteX2" fmla="*/ 0 w 1538884"/>
                <a:gd name="connsiteY2" fmla="*/ 257442 h 257442"/>
                <a:gd name="connsiteX3" fmla="*/ 54722 w 1538884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54722 w 1128735"/>
                <a:gd name="connsiteY3" fmla="*/ 0 h 257442"/>
                <a:gd name="connsiteX0" fmla="*/ 1297051 w 1297051"/>
                <a:gd name="connsiteY0" fmla="*/ 0 h 257442"/>
                <a:gd name="connsiteX1" fmla="*/ 1074013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1 w 1297051"/>
                <a:gd name="connsiteY0" fmla="*/ 0 h 257442"/>
                <a:gd name="connsiteX1" fmla="*/ 1242330 w 1297051"/>
                <a:gd name="connsiteY1" fmla="*/ 257442 h 257442"/>
                <a:gd name="connsiteX2" fmla="*/ 0 w 1297051"/>
                <a:gd name="connsiteY2" fmla="*/ 257442 h 257442"/>
                <a:gd name="connsiteX3" fmla="*/ 54722 w 1297051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0 w 1297050"/>
                <a:gd name="connsiteY3" fmla="*/ 0 h 257442"/>
                <a:gd name="connsiteX0" fmla="*/ 1457349 w 1457349"/>
                <a:gd name="connsiteY0" fmla="*/ 0 h 257442"/>
                <a:gd name="connsiteX1" fmla="*/ 1242329 w 1457349"/>
                <a:gd name="connsiteY1" fmla="*/ 257442 h 257442"/>
                <a:gd name="connsiteX2" fmla="*/ 0 w 1457349"/>
                <a:gd name="connsiteY2" fmla="*/ 257442 h 257442"/>
                <a:gd name="connsiteX3" fmla="*/ 54720 w 1457349"/>
                <a:gd name="connsiteY3" fmla="*/ 0 h 257442"/>
                <a:gd name="connsiteX0" fmla="*/ 1457349 w 1457349"/>
                <a:gd name="connsiteY0" fmla="*/ 0 h 257442"/>
                <a:gd name="connsiteX1" fmla="*/ 1402628 w 1457349"/>
                <a:gd name="connsiteY1" fmla="*/ 257442 h 257442"/>
                <a:gd name="connsiteX2" fmla="*/ 0 w 1457349"/>
                <a:gd name="connsiteY2" fmla="*/ 257442 h 257442"/>
                <a:gd name="connsiteX3" fmla="*/ 54720 w 1457349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726655 w 1726655"/>
                <a:gd name="connsiteY0" fmla="*/ 0 h 257442"/>
                <a:gd name="connsiteX1" fmla="*/ 1402629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23586 w 2223586"/>
                <a:gd name="connsiteY0" fmla="*/ 0 h 257442"/>
                <a:gd name="connsiteX1" fmla="*/ 2000549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1 w 2223586"/>
                <a:gd name="connsiteY3" fmla="*/ 0 h 257442"/>
                <a:gd name="connsiteX0" fmla="*/ 2465447 w 2465447"/>
                <a:gd name="connsiteY0" fmla="*/ 0 h 257442"/>
                <a:gd name="connsiteX1" fmla="*/ 2168864 w 2465447"/>
                <a:gd name="connsiteY1" fmla="*/ 257442 h 257442"/>
                <a:gd name="connsiteX2" fmla="*/ 0 w 2465447"/>
                <a:gd name="connsiteY2" fmla="*/ 257442 h 257442"/>
                <a:gd name="connsiteX3" fmla="*/ 54721 w 2465447"/>
                <a:gd name="connsiteY3" fmla="*/ 0 h 257442"/>
                <a:gd name="connsiteX0" fmla="*/ 2465447 w 2465447"/>
                <a:gd name="connsiteY0" fmla="*/ 0 h 257442"/>
                <a:gd name="connsiteX1" fmla="*/ 2410726 w 2465447"/>
                <a:gd name="connsiteY1" fmla="*/ 257442 h 257442"/>
                <a:gd name="connsiteX2" fmla="*/ 0 w 2465447"/>
                <a:gd name="connsiteY2" fmla="*/ 257442 h 257442"/>
                <a:gd name="connsiteX3" fmla="*/ 54721 w 2465447"/>
                <a:gd name="connsiteY3" fmla="*/ 0 h 257442"/>
                <a:gd name="connsiteX0" fmla="*/ 2465447 w 2465447"/>
                <a:gd name="connsiteY0" fmla="*/ 0 h 257442"/>
                <a:gd name="connsiteX1" fmla="*/ 2410726 w 2465447"/>
                <a:gd name="connsiteY1" fmla="*/ 257442 h 257442"/>
                <a:gd name="connsiteX2" fmla="*/ 0 w 2465447"/>
                <a:gd name="connsiteY2" fmla="*/ 257442 h 257442"/>
                <a:gd name="connsiteX3" fmla="*/ 54721 w 2465447"/>
                <a:gd name="connsiteY3" fmla="*/ 0 h 257442"/>
                <a:gd name="connsiteX0" fmla="*/ 2465447 w 2465447"/>
                <a:gd name="connsiteY0" fmla="*/ 0 h 257442"/>
                <a:gd name="connsiteX1" fmla="*/ 2410726 w 2465447"/>
                <a:gd name="connsiteY1" fmla="*/ 257442 h 257442"/>
                <a:gd name="connsiteX2" fmla="*/ 0 w 2465447"/>
                <a:gd name="connsiteY2" fmla="*/ 257442 h 257442"/>
                <a:gd name="connsiteX3" fmla="*/ 54721 w 2465447"/>
                <a:gd name="connsiteY3" fmla="*/ 0 h 257442"/>
                <a:gd name="connsiteX0" fmla="*/ 2643379 w 2643379"/>
                <a:gd name="connsiteY0" fmla="*/ 0 h 257442"/>
                <a:gd name="connsiteX1" fmla="*/ 2410726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811695 w 2811695"/>
                <a:gd name="connsiteY0" fmla="*/ 0 h 257442"/>
                <a:gd name="connsiteX1" fmla="*/ 2588658 w 2811695"/>
                <a:gd name="connsiteY1" fmla="*/ 257442 h 257442"/>
                <a:gd name="connsiteX2" fmla="*/ 0 w 2811695"/>
                <a:gd name="connsiteY2" fmla="*/ 257442 h 257442"/>
                <a:gd name="connsiteX3" fmla="*/ 54721 w 2811695"/>
                <a:gd name="connsiteY3" fmla="*/ 0 h 257442"/>
                <a:gd name="connsiteX0" fmla="*/ 2811695 w 2811695"/>
                <a:gd name="connsiteY0" fmla="*/ 0 h 257442"/>
                <a:gd name="connsiteX1" fmla="*/ 2756974 w 2811695"/>
                <a:gd name="connsiteY1" fmla="*/ 257442 h 257442"/>
                <a:gd name="connsiteX2" fmla="*/ 0 w 2811695"/>
                <a:gd name="connsiteY2" fmla="*/ 257442 h 257442"/>
                <a:gd name="connsiteX3" fmla="*/ 54721 w 2811695"/>
                <a:gd name="connsiteY3" fmla="*/ 0 h 257442"/>
                <a:gd name="connsiteX0" fmla="*/ 2811695 w 2811695"/>
                <a:gd name="connsiteY0" fmla="*/ 0 h 257442"/>
                <a:gd name="connsiteX1" fmla="*/ 2756974 w 2811695"/>
                <a:gd name="connsiteY1" fmla="*/ 257442 h 257442"/>
                <a:gd name="connsiteX2" fmla="*/ 0 w 2811695"/>
                <a:gd name="connsiteY2" fmla="*/ 257442 h 257442"/>
                <a:gd name="connsiteX3" fmla="*/ 54721 w 2811695"/>
                <a:gd name="connsiteY3" fmla="*/ 0 h 257442"/>
                <a:gd name="connsiteX0" fmla="*/ 2811695 w 2811695"/>
                <a:gd name="connsiteY0" fmla="*/ 0 h 257442"/>
                <a:gd name="connsiteX1" fmla="*/ 2756974 w 2811695"/>
                <a:gd name="connsiteY1" fmla="*/ 257442 h 257442"/>
                <a:gd name="connsiteX2" fmla="*/ 0 w 2811695"/>
                <a:gd name="connsiteY2" fmla="*/ 257442 h 257442"/>
                <a:gd name="connsiteX3" fmla="*/ 54721 w 2811695"/>
                <a:gd name="connsiteY3" fmla="*/ 0 h 257442"/>
                <a:gd name="connsiteX0" fmla="*/ 3072984 w 3072984"/>
                <a:gd name="connsiteY0" fmla="*/ 0 h 257442"/>
                <a:gd name="connsiteX1" fmla="*/ 2756974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2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5 w 3072985"/>
                <a:gd name="connsiteY0" fmla="*/ 0 h 257442"/>
                <a:gd name="connsiteX1" fmla="*/ 3018263 w 3072985"/>
                <a:gd name="connsiteY1" fmla="*/ 257442 h 257442"/>
                <a:gd name="connsiteX2" fmla="*/ 0 w 3072985"/>
                <a:gd name="connsiteY2" fmla="*/ 257442 h 257442"/>
                <a:gd name="connsiteX3" fmla="*/ 54722 w 3072985"/>
                <a:gd name="connsiteY3" fmla="*/ 0 h 257442"/>
                <a:gd name="connsiteX0" fmla="*/ 3072985 w 3072985"/>
                <a:gd name="connsiteY0" fmla="*/ 0 h 257442"/>
                <a:gd name="connsiteX1" fmla="*/ 3018263 w 3072985"/>
                <a:gd name="connsiteY1" fmla="*/ 257442 h 257442"/>
                <a:gd name="connsiteX2" fmla="*/ 0 w 3072985"/>
                <a:gd name="connsiteY2" fmla="*/ 257442 h 257442"/>
                <a:gd name="connsiteX3" fmla="*/ 54722 w 3072985"/>
                <a:gd name="connsiteY3" fmla="*/ 0 h 257442"/>
                <a:gd name="connsiteX0" fmla="*/ 3233285 w 3233285"/>
                <a:gd name="connsiteY0" fmla="*/ 0 h 257442"/>
                <a:gd name="connsiteX1" fmla="*/ 3018263 w 3233285"/>
                <a:gd name="connsiteY1" fmla="*/ 257442 h 257442"/>
                <a:gd name="connsiteX2" fmla="*/ 0 w 3233285"/>
                <a:gd name="connsiteY2" fmla="*/ 257442 h 257442"/>
                <a:gd name="connsiteX3" fmla="*/ 54722 w 3233285"/>
                <a:gd name="connsiteY3" fmla="*/ 0 h 257442"/>
                <a:gd name="connsiteX0" fmla="*/ 3233285 w 3233285"/>
                <a:gd name="connsiteY0" fmla="*/ 0 h 257442"/>
                <a:gd name="connsiteX1" fmla="*/ 3178564 w 3233285"/>
                <a:gd name="connsiteY1" fmla="*/ 257442 h 257442"/>
                <a:gd name="connsiteX2" fmla="*/ 0 w 3233285"/>
                <a:gd name="connsiteY2" fmla="*/ 257442 h 257442"/>
                <a:gd name="connsiteX3" fmla="*/ 54722 w 3233285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0 w 323328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3284" h="257442">
                  <a:moveTo>
                    <a:pt x="3233284" y="0"/>
                  </a:moveTo>
                  <a:lnTo>
                    <a:pt x="3178563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Right301519">
              <a:extLst>
                <a:ext uri="{FF2B5EF4-FFF2-40B4-BE49-F238E27FC236}">
                  <a16:creationId xmlns:a16="http://schemas.microsoft.com/office/drawing/2014/main" id="{99A8B464-8C94-9146-938B-AC8939A57BF3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33308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ideration set</a:t>
              </a:r>
            </a:p>
          </p:txBody>
        </p:sp>
      </p:grpSp>
      <p:grpSp>
        <p:nvGrpSpPr>
          <p:cNvPr id="8" name="btfpStatusSticker784781">
            <a:extLst>
              <a:ext uri="{FF2B5EF4-FFF2-40B4-BE49-F238E27FC236}">
                <a16:creationId xmlns:a16="http://schemas.microsoft.com/office/drawing/2014/main" id="{83D7A9FA-65A3-E237-8A2B-72540CC20D69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6" name="btfpStatusStickerText784781">
              <a:extLst>
                <a:ext uri="{FF2B5EF4-FFF2-40B4-BE49-F238E27FC236}">
                  <a16:creationId xmlns:a16="http://schemas.microsoft.com/office/drawing/2014/main" id="{7D2CF865-7B01-FE61-75F6-2703DC609D09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7" name="btfpStatusStickerLine784781">
              <a:extLst>
                <a:ext uri="{FF2B5EF4-FFF2-40B4-BE49-F238E27FC236}">
                  <a16:creationId xmlns:a16="http://schemas.microsoft.com/office/drawing/2014/main" id="{090D996B-716E-AD9A-9047-F1121F7F7C0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44103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FC2908E-6A6C-E9DB-6D4E-985F381896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42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06" imgH="608" progId="TCLayout.ActiveDocument.1">
                  <p:embed/>
                </p:oleObj>
              </mc:Choice>
              <mc:Fallback>
                <p:oleObj name="think-cell Slide" r:id="rId14" imgW="606" imgH="60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C2908E-6A6C-E9DB-6D4E-985F38189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E48651E1-F432-6BD8-5CBD-0C263B3A8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2341880"/>
              </p:ext>
            </p:extLst>
          </p:nvPr>
        </p:nvGraphicFramePr>
        <p:xfrm>
          <a:off x="349891" y="2313544"/>
          <a:ext cx="7140727" cy="3886200"/>
        </p:xfrm>
        <a:graphic>
          <a:graphicData uri="http://schemas.openxmlformats.org/drawingml/2006/table">
            <a:tbl>
              <a:tblPr/>
              <a:tblGrid>
                <a:gridCol w="1880777">
                  <a:extLst>
                    <a:ext uri="{9D8B030D-6E8A-4147-A177-3AD203B41FA5}">
                      <a16:colId xmlns:a16="http://schemas.microsoft.com/office/drawing/2014/main" val="3965531438"/>
                    </a:ext>
                  </a:extLst>
                </a:gridCol>
                <a:gridCol w="1051990">
                  <a:extLst>
                    <a:ext uri="{9D8B030D-6E8A-4147-A177-3AD203B41FA5}">
                      <a16:colId xmlns:a16="http://schemas.microsoft.com/office/drawing/2014/main" val="407396719"/>
                    </a:ext>
                  </a:extLst>
                </a:gridCol>
                <a:gridCol w="1051990">
                  <a:extLst>
                    <a:ext uri="{9D8B030D-6E8A-4147-A177-3AD203B41FA5}">
                      <a16:colId xmlns:a16="http://schemas.microsoft.com/office/drawing/2014/main" val="4056282178"/>
                    </a:ext>
                  </a:extLst>
                </a:gridCol>
                <a:gridCol w="1051990">
                  <a:extLst>
                    <a:ext uri="{9D8B030D-6E8A-4147-A177-3AD203B41FA5}">
                      <a16:colId xmlns:a16="http://schemas.microsoft.com/office/drawing/2014/main" val="1746890059"/>
                    </a:ext>
                  </a:extLst>
                </a:gridCol>
                <a:gridCol w="1051990">
                  <a:extLst>
                    <a:ext uri="{9D8B030D-6E8A-4147-A177-3AD203B41FA5}">
                      <a16:colId xmlns:a16="http://schemas.microsoft.com/office/drawing/2014/main" val="2075777554"/>
                    </a:ext>
                  </a:extLst>
                </a:gridCol>
                <a:gridCol w="1051990">
                  <a:extLst>
                    <a:ext uri="{9D8B030D-6E8A-4147-A177-3AD203B41FA5}">
                      <a16:colId xmlns:a16="http://schemas.microsoft.com/office/drawing/2014/main" val="172505688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ther vendors considered </a:t>
                      </a:r>
                      <a:r>
                        <a:rPr lang="en-US" sz="11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among current Target user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b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2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wer MM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1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pper MM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17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erprise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6512418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809427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206330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01358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448380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848444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725331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236" marR="8236" marT="823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525921"/>
                  </a:ext>
                </a:extLst>
              </a:tr>
            </a:tbl>
          </a:graphicData>
        </a:graphic>
      </p:graphicFrame>
      <p:grpSp>
        <p:nvGrpSpPr>
          <p:cNvPr id="86" name="btfpColumnIndicatorGroup2">
            <a:extLst>
              <a:ext uri="{FF2B5EF4-FFF2-40B4-BE49-F238E27FC236}">
                <a16:creationId xmlns:a16="http://schemas.microsoft.com/office/drawing/2014/main" id="{3232A9BC-6F84-5850-D2BD-91C8157ED2F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4" name="btfpColumnGapBlocker916764">
              <a:extLst>
                <a:ext uri="{FF2B5EF4-FFF2-40B4-BE49-F238E27FC236}">
                  <a16:creationId xmlns:a16="http://schemas.microsoft.com/office/drawing/2014/main" id="{8CA5015D-CF87-61AB-512C-D8FD610795E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2" name="btfpColumnGapBlocker435367">
              <a:extLst>
                <a:ext uri="{FF2B5EF4-FFF2-40B4-BE49-F238E27FC236}">
                  <a16:creationId xmlns:a16="http://schemas.microsoft.com/office/drawing/2014/main" id="{00E248C2-CCF6-C835-CF32-103B55575FC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80" name="btfpColumnIndicator526931">
              <a:extLst>
                <a:ext uri="{FF2B5EF4-FFF2-40B4-BE49-F238E27FC236}">
                  <a16:creationId xmlns:a16="http://schemas.microsoft.com/office/drawing/2014/main" id="{6B5FCCA6-3EE0-F026-DF84-A291CA1827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btfpColumnIndicator412716">
              <a:extLst>
                <a:ext uri="{FF2B5EF4-FFF2-40B4-BE49-F238E27FC236}">
                  <a16:creationId xmlns:a16="http://schemas.microsoft.com/office/drawing/2014/main" id="{13614A97-8BBA-D5E9-E915-21DCD216EB8E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btfpColumnGapBlocker110512">
              <a:extLst>
                <a:ext uri="{FF2B5EF4-FFF2-40B4-BE49-F238E27FC236}">
                  <a16:creationId xmlns:a16="http://schemas.microsoft.com/office/drawing/2014/main" id="{73F4137A-3343-E97D-9EC1-B35AD9097A94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74" name="btfpColumnIndicator688509">
              <a:extLst>
                <a:ext uri="{FF2B5EF4-FFF2-40B4-BE49-F238E27FC236}">
                  <a16:creationId xmlns:a16="http://schemas.microsoft.com/office/drawing/2014/main" id="{F5830DDF-E0AC-C990-0244-D5DDC57EFDAE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btfpColumnIndicator867440">
              <a:extLst>
                <a:ext uri="{FF2B5EF4-FFF2-40B4-BE49-F238E27FC236}">
                  <a16:creationId xmlns:a16="http://schemas.microsoft.com/office/drawing/2014/main" id="{C62FE118-B658-CF6A-90FF-2591C821F9AB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btfpColumnGapBlocker538537">
              <a:extLst>
                <a:ext uri="{FF2B5EF4-FFF2-40B4-BE49-F238E27FC236}">
                  <a16:creationId xmlns:a16="http://schemas.microsoft.com/office/drawing/2014/main" id="{284A2853-E214-FED6-CAC5-219AA3CF580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7" name="btfpColumnIndicator413978">
              <a:extLst>
                <a:ext uri="{FF2B5EF4-FFF2-40B4-BE49-F238E27FC236}">
                  <a16:creationId xmlns:a16="http://schemas.microsoft.com/office/drawing/2014/main" id="{E7399AC0-9371-3D13-2305-32B8F1DBF2A4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btfpColumnIndicator747260">
              <a:extLst>
                <a:ext uri="{FF2B5EF4-FFF2-40B4-BE49-F238E27FC236}">
                  <a16:creationId xmlns:a16="http://schemas.microsoft.com/office/drawing/2014/main" id="{EBFBD4F7-2106-8FA7-9402-3C7C9CFBAE8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btfpColumnIndicatorGroup1">
            <a:extLst>
              <a:ext uri="{FF2B5EF4-FFF2-40B4-BE49-F238E27FC236}">
                <a16:creationId xmlns:a16="http://schemas.microsoft.com/office/drawing/2014/main" id="{CA88A240-8B15-F373-38A6-58131811ABA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3" name="btfpColumnGapBlocker895622">
              <a:extLst>
                <a:ext uri="{FF2B5EF4-FFF2-40B4-BE49-F238E27FC236}">
                  <a16:creationId xmlns:a16="http://schemas.microsoft.com/office/drawing/2014/main" id="{7A9728E4-134F-1EE0-8248-3055B0AC6D2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1" name="btfpColumnGapBlocker896648">
              <a:extLst>
                <a:ext uri="{FF2B5EF4-FFF2-40B4-BE49-F238E27FC236}">
                  <a16:creationId xmlns:a16="http://schemas.microsoft.com/office/drawing/2014/main" id="{03D792EE-8C08-8B80-730D-230D9105FC94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79" name="btfpColumnIndicator562534">
              <a:extLst>
                <a:ext uri="{FF2B5EF4-FFF2-40B4-BE49-F238E27FC236}">
                  <a16:creationId xmlns:a16="http://schemas.microsoft.com/office/drawing/2014/main" id="{F155B620-B1D4-CB40-68F3-68342B33BB1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btfpColumnIndicator513013">
              <a:extLst>
                <a:ext uri="{FF2B5EF4-FFF2-40B4-BE49-F238E27FC236}">
                  <a16:creationId xmlns:a16="http://schemas.microsoft.com/office/drawing/2014/main" id="{E2C01CE9-CE7D-F5C7-7A0E-B8E1268DD0B0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btfpColumnGapBlocker383613">
              <a:extLst>
                <a:ext uri="{FF2B5EF4-FFF2-40B4-BE49-F238E27FC236}">
                  <a16:creationId xmlns:a16="http://schemas.microsoft.com/office/drawing/2014/main" id="{84CBA001-C974-16FD-3008-135446BCE763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73" name="btfpColumnIndicator915616">
              <a:extLst>
                <a:ext uri="{FF2B5EF4-FFF2-40B4-BE49-F238E27FC236}">
                  <a16:creationId xmlns:a16="http://schemas.microsoft.com/office/drawing/2014/main" id="{8AB5950B-FCF5-DF75-6A52-E9C1E918789B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btfpColumnIndicator444710">
              <a:extLst>
                <a:ext uri="{FF2B5EF4-FFF2-40B4-BE49-F238E27FC236}">
                  <a16:creationId xmlns:a16="http://schemas.microsoft.com/office/drawing/2014/main" id="{579533EB-E73A-430F-8F0B-2D5E59305AA0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btfpColumnGapBlocker385112">
              <a:extLst>
                <a:ext uri="{FF2B5EF4-FFF2-40B4-BE49-F238E27FC236}">
                  <a16:creationId xmlns:a16="http://schemas.microsoft.com/office/drawing/2014/main" id="{22FBF399-E7FE-8857-9A82-B80A012E9EC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6" name="btfpColumnIndicator877383">
              <a:extLst>
                <a:ext uri="{FF2B5EF4-FFF2-40B4-BE49-F238E27FC236}">
                  <a16:creationId xmlns:a16="http://schemas.microsoft.com/office/drawing/2014/main" id="{2022DAE5-47D7-D421-E36D-A7F7ABBCB8DB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btfpColumnIndicator188743">
              <a:extLst>
                <a:ext uri="{FF2B5EF4-FFF2-40B4-BE49-F238E27FC236}">
                  <a16:creationId xmlns:a16="http://schemas.microsoft.com/office/drawing/2014/main" id="{37D2EF11-2FB6-401D-80AC-A153E773628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EDBA2D5-1344-9DBC-7A8E-7F7E46951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Target alternatives |</a:t>
            </a:r>
            <a:r>
              <a:rPr lang="en-US" dirty="0"/>
              <a:t> When customers consider alternatives to Target, they are often evaluated against Peer 1, Peer 2(x), Peer 3 and Peer 4</a:t>
            </a:r>
          </a:p>
        </p:txBody>
      </p:sp>
      <p:grpSp>
        <p:nvGrpSpPr>
          <p:cNvPr id="48" name="btfpColumnHeaderBox602637">
            <a:extLst>
              <a:ext uri="{FF2B5EF4-FFF2-40B4-BE49-F238E27FC236}">
                <a16:creationId xmlns:a16="http://schemas.microsoft.com/office/drawing/2014/main" id="{8033D028-4C9C-4BAB-3820-D500D8715B8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830661" y="1338593"/>
            <a:ext cx="4031139" cy="288219"/>
            <a:chOff x="8378296" y="1042926"/>
            <a:chExt cx="3483504" cy="288219"/>
          </a:xfrm>
        </p:grpSpPr>
        <p:sp>
          <p:nvSpPr>
            <p:cNvPr id="49" name="btfpColumnHeaderBoxText602637">
              <a:extLst>
                <a:ext uri="{FF2B5EF4-FFF2-40B4-BE49-F238E27FC236}">
                  <a16:creationId xmlns:a16="http://schemas.microsoft.com/office/drawing/2014/main" id="{B60290D1-41A2-1F41-E26C-8A471844A875}"/>
                </a:ext>
              </a:extLst>
            </p:cNvPr>
            <p:cNvSpPr txBox="1"/>
            <p:nvPr/>
          </p:nvSpPr>
          <p:spPr bwMode="gray">
            <a:xfrm>
              <a:off x="8378296" y="1042926"/>
              <a:ext cx="3483504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000000"/>
                  </a:solidFill>
                </a:rPr>
                <a:t>Similar consideration across segments</a:t>
              </a:r>
            </a:p>
          </p:txBody>
        </p:sp>
        <p:cxnSp>
          <p:nvCxnSpPr>
            <p:cNvPr id="50" name="btfpColumnHeaderBoxLine602637">
              <a:extLst>
                <a:ext uri="{FF2B5EF4-FFF2-40B4-BE49-F238E27FC236}">
                  <a16:creationId xmlns:a16="http://schemas.microsoft.com/office/drawing/2014/main" id="{6C7E4462-275E-9C5D-BFBE-67C1B8288AF3}"/>
                </a:ext>
              </a:extLst>
            </p:cNvPr>
            <p:cNvCxnSpPr/>
            <p:nvPr/>
          </p:nvCxnSpPr>
          <p:spPr bwMode="gray">
            <a:xfrm>
              <a:off x="8378296" y="1331145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CB025FF5-4D8C-91E2-4FBF-E5374847D8E7}"/>
              </a:ext>
            </a:extLst>
          </p:cNvPr>
          <p:cNvSpPr/>
          <p:nvPr/>
        </p:nvSpPr>
        <p:spPr bwMode="gray">
          <a:xfrm>
            <a:off x="330199" y="2700990"/>
            <a:ext cx="7160419" cy="1986115"/>
          </a:xfrm>
          <a:prstGeom prst="rect">
            <a:avLst/>
          </a:prstGeom>
          <a:noFill/>
          <a:ln w="3810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3DCD4E2-FA12-6C8F-199F-787899491B9D}"/>
              </a:ext>
            </a:extLst>
          </p:cNvPr>
          <p:cNvSpPr/>
          <p:nvPr/>
        </p:nvSpPr>
        <p:spPr bwMode="gray">
          <a:xfrm>
            <a:off x="330200" y="1853658"/>
            <a:ext cx="7162801" cy="3120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100" b="1" i="1">
                <a:solidFill>
                  <a:srgbClr val="000000"/>
                </a:solidFill>
              </a:rPr>
              <a:t>Q:</a:t>
            </a:r>
            <a:r>
              <a:rPr lang="en-US" sz="1100" i="1">
                <a:solidFill>
                  <a:srgbClr val="000000"/>
                </a:solidFill>
              </a:rPr>
              <a:t> Which </a:t>
            </a:r>
            <a:r>
              <a:rPr lang="en-US" sz="1100" b="1" i="1">
                <a:solidFill>
                  <a:srgbClr val="000000"/>
                </a:solidFill>
              </a:rPr>
              <a:t>other vendors did you consider </a:t>
            </a:r>
            <a:r>
              <a:rPr lang="en-US" sz="1100" i="1">
                <a:solidFill>
                  <a:srgbClr val="000000"/>
                </a:solidFill>
              </a:rPr>
              <a:t>along with &lt;vendor&gt; at the time of your most recent purchase or reevaluation? </a:t>
            </a:r>
          </a:p>
        </p:txBody>
      </p:sp>
      <p:sp>
        <p:nvSpPr>
          <p:cNvPr id="54" name="btfpNotesBox537015">
            <a:extLst>
              <a:ext uri="{FF2B5EF4-FFF2-40B4-BE49-F238E27FC236}">
                <a16:creationId xmlns:a16="http://schemas.microsoft.com/office/drawing/2014/main" id="{1BC43444-8250-8C73-2298-3CB8A03F3E2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874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; Market participant interview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E2C68D-047F-7062-890F-DD6ED2EF1941}"/>
              </a:ext>
            </a:extLst>
          </p:cNvPr>
          <p:cNvSpPr/>
          <p:nvPr/>
        </p:nvSpPr>
        <p:spPr bwMode="gray">
          <a:xfrm>
            <a:off x="7210509" y="904513"/>
            <a:ext cx="2752725" cy="305030"/>
          </a:xfrm>
          <a:prstGeom prst="rect">
            <a:avLst/>
          </a:prstGeom>
          <a:solidFill>
            <a:srgbClr val="B4B4B4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400" i="1" dirty="0">
                <a:solidFill>
                  <a:srgbClr val="000000"/>
                </a:solidFill>
              </a:rPr>
              <a:t>Current Target users only</a:t>
            </a:r>
          </a:p>
        </p:txBody>
      </p:sp>
      <p:sp>
        <p:nvSpPr>
          <p:cNvPr id="15" name="btfpBulletedList518367">
            <a:extLst>
              <a:ext uri="{FF2B5EF4-FFF2-40B4-BE49-F238E27FC236}">
                <a16:creationId xmlns:a16="http://schemas.microsoft.com/office/drawing/2014/main" id="{FCA7CEAC-A042-6524-6F8D-268FC837589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7830660" y="1779456"/>
            <a:ext cx="4031139" cy="1734697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 dirty="0"/>
              <a:t>Target users also </a:t>
            </a:r>
            <a:r>
              <a:rPr lang="en-US" sz="1200" b="1" dirty="0"/>
              <a:t>considered Peer 1 in 50%+ of purchasing occasions</a:t>
            </a:r>
            <a:r>
              <a:rPr lang="en-US" sz="1200" dirty="0"/>
              <a:t> across all segments</a:t>
            </a:r>
            <a:endParaRPr lang="en-US" sz="1200" b="1" dirty="0"/>
          </a:p>
          <a:p>
            <a:pPr lvl="1"/>
            <a:r>
              <a:rPr lang="en-US" sz="1000" dirty="0"/>
              <a:t>Market participants often reference considering Peer 1 briefly before disregarding due to cost and complexity</a:t>
            </a:r>
          </a:p>
          <a:p>
            <a:r>
              <a:rPr lang="en-US" sz="1200" dirty="0"/>
              <a:t>Peer 2(x), Peer 3, and Peer 4 are also frequently evaluated with Target</a:t>
            </a:r>
          </a:p>
          <a:p>
            <a:pPr lvl="1"/>
            <a:r>
              <a:rPr lang="en-US" sz="1000" dirty="0"/>
              <a:t>Given Peer 3’s smaller market share, this implies higher relative overlap between Peer 3 and Target</a:t>
            </a:r>
          </a:p>
        </p:txBody>
      </p:sp>
      <p:grpSp>
        <p:nvGrpSpPr>
          <p:cNvPr id="55" name="btfpStatusSticker834726">
            <a:extLst>
              <a:ext uri="{FF2B5EF4-FFF2-40B4-BE49-F238E27FC236}">
                <a16:creationId xmlns:a16="http://schemas.microsoft.com/office/drawing/2014/main" id="{72B2321B-5994-3264-BA8A-5CAA4D2F55E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0356" y="955344"/>
            <a:ext cx="1761444" cy="235611"/>
            <a:chOff x="-1630959" y="876300"/>
            <a:chExt cx="1761444" cy="235611"/>
          </a:xfrm>
        </p:grpSpPr>
        <p:sp>
          <p:nvSpPr>
            <p:cNvPr id="56" name="btfpStatusStickerText834726">
              <a:extLst>
                <a:ext uri="{FF2B5EF4-FFF2-40B4-BE49-F238E27FC236}">
                  <a16:creationId xmlns:a16="http://schemas.microsoft.com/office/drawing/2014/main" id="{85C0D89F-3400-9AA0-9D6D-4543AD5B0B55}"/>
                </a:ext>
              </a:extLst>
            </p:cNvPr>
            <p:cNvSpPr txBox="1"/>
            <p:nvPr/>
          </p:nvSpPr>
          <p:spPr bwMode="gray">
            <a:xfrm>
              <a:off x="-1630959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58" name="btfpStatusStickerLine834726">
              <a:extLst>
                <a:ext uri="{FF2B5EF4-FFF2-40B4-BE49-F238E27FC236}">
                  <a16:creationId xmlns:a16="http://schemas.microsoft.com/office/drawing/2014/main" id="{AE430442-7E1E-0DB3-2C2B-365A00F909E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630959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btfpQuoteBox928029">
            <a:extLst>
              <a:ext uri="{FF2B5EF4-FFF2-40B4-BE49-F238E27FC236}">
                <a16:creationId xmlns:a16="http://schemas.microsoft.com/office/drawing/2014/main" id="{1478E3ED-FC3C-8F22-F606-AE87D7F6BB95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7810969" y="3632394"/>
            <a:ext cx="4031139" cy="1396215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We were already a Target customer in other areas and they did an ITSM demo for us. Other than that, </a:t>
            </a:r>
            <a:r>
              <a:rPr lang="en-US" sz="1200" b="1" i="1" dirty="0"/>
              <a:t>we looked at Peer 1</a:t>
            </a:r>
            <a:r>
              <a:rPr lang="en-US" sz="1200" i="1" dirty="0"/>
              <a:t>, but we didn’t do a deep dive because it was clear in the beginning that it would be too expensive and big from us.”</a:t>
            </a:r>
            <a:endParaRPr lang="en-US" sz="1200" i="1" dirty="0">
              <a:solidFill>
                <a:srgbClr val="CC0000"/>
              </a:solidFill>
            </a:endParaRP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nior Director of Business Technology, Customer #25</a:t>
            </a:r>
            <a:r>
              <a:rPr lang="en-US" sz="1400" dirty="0"/>
              <a:t> </a:t>
            </a:r>
          </a:p>
          <a:p>
            <a:pPr marL="177800" lvl="1" indent="0" algn="r">
              <a:spcBef>
                <a:spcPts val="0"/>
              </a:spcBef>
              <a:buNone/>
            </a:pPr>
            <a:endParaRPr lang="en-US" sz="1200" dirty="0">
              <a:solidFill>
                <a:srgbClr val="CC0000"/>
              </a:solidFill>
            </a:endParaRPr>
          </a:p>
        </p:txBody>
      </p:sp>
      <p:grpSp>
        <p:nvGrpSpPr>
          <p:cNvPr id="16" name="btfpColumnHeaderBox602637">
            <a:extLst>
              <a:ext uri="{FF2B5EF4-FFF2-40B4-BE49-F238E27FC236}">
                <a16:creationId xmlns:a16="http://schemas.microsoft.com/office/drawing/2014/main" id="{545EC4BC-DB89-9A4B-6226-2E60C434727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200" y="1338593"/>
            <a:ext cx="7162801" cy="288219"/>
            <a:chOff x="8378296" y="1266586"/>
            <a:chExt cx="3483504" cy="288219"/>
          </a:xfrm>
        </p:grpSpPr>
        <p:sp>
          <p:nvSpPr>
            <p:cNvPr id="17" name="btfpColumnHeaderBoxText602637">
              <a:extLst>
                <a:ext uri="{FF2B5EF4-FFF2-40B4-BE49-F238E27FC236}">
                  <a16:creationId xmlns:a16="http://schemas.microsoft.com/office/drawing/2014/main" id="{AC82B5F9-AD7D-4043-F9FD-F7ABB758D8D3}"/>
                </a:ext>
              </a:extLst>
            </p:cNvPr>
            <p:cNvSpPr txBox="1"/>
            <p:nvPr/>
          </p:nvSpPr>
          <p:spPr bwMode="gray">
            <a:xfrm>
              <a:off x="8378296" y="1266586"/>
              <a:ext cx="3483504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Target evaluated against Peer 1, Peer 2(x), Peer 3, and Peer 4 across segments</a:t>
              </a:r>
            </a:p>
          </p:txBody>
        </p:sp>
        <p:cxnSp>
          <p:nvCxnSpPr>
            <p:cNvPr id="18" name="btfpColumnHeaderBoxLine602637">
              <a:extLst>
                <a:ext uri="{FF2B5EF4-FFF2-40B4-BE49-F238E27FC236}">
                  <a16:creationId xmlns:a16="http://schemas.microsoft.com/office/drawing/2014/main" id="{8FF4D3CC-7546-243A-0365-9851A19E0218}"/>
                </a:ext>
              </a:extLst>
            </p:cNvPr>
            <p:cNvCxnSpPr/>
            <p:nvPr/>
          </p:nvCxnSpPr>
          <p:spPr bwMode="gray">
            <a:xfrm>
              <a:off x="8378296" y="1554805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F411897C-1FD7-7D4E-D95C-185B1F08FA1D}"/>
              </a:ext>
            </a:extLst>
          </p:cNvPr>
          <p:cNvSpPr/>
          <p:nvPr/>
        </p:nvSpPr>
        <p:spPr bwMode="gray">
          <a:xfrm>
            <a:off x="4652452" y="6398615"/>
            <a:ext cx="137160" cy="137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%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79A5D3E-7E8E-597B-6633-06306C12F2A9}"/>
              </a:ext>
            </a:extLst>
          </p:cNvPr>
          <p:cNvSpPr/>
          <p:nvPr/>
        </p:nvSpPr>
        <p:spPr bwMode="gray">
          <a:xfrm>
            <a:off x="5089639" y="6398615"/>
            <a:ext cx="137160" cy="1371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-20%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B6A575F-5662-6E8A-2135-97AC39DA8C73}"/>
              </a:ext>
            </a:extLst>
          </p:cNvPr>
          <p:cNvSpPr/>
          <p:nvPr/>
        </p:nvSpPr>
        <p:spPr bwMode="gray">
          <a:xfrm>
            <a:off x="5689693" y="6398615"/>
            <a:ext cx="137160" cy="1371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20-40%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A6A04AA-0055-4F86-C234-F2BBC20C1606}"/>
              </a:ext>
            </a:extLst>
          </p:cNvPr>
          <p:cNvSpPr/>
          <p:nvPr/>
        </p:nvSpPr>
        <p:spPr bwMode="gray">
          <a:xfrm>
            <a:off x="6352276" y="6398615"/>
            <a:ext cx="137160" cy="1371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40-60%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ADBE645-0EC1-1A3E-7CC9-43B4775709FA}"/>
              </a:ext>
            </a:extLst>
          </p:cNvPr>
          <p:cNvSpPr/>
          <p:nvPr/>
        </p:nvSpPr>
        <p:spPr bwMode="gray">
          <a:xfrm>
            <a:off x="7020910" y="6398615"/>
            <a:ext cx="137160" cy="13716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60%+</a:t>
            </a:r>
          </a:p>
        </p:txBody>
      </p:sp>
      <p:sp>
        <p:nvSpPr>
          <p:cNvPr id="28" name="btfpQuoteBox928029">
            <a:extLst>
              <a:ext uri="{FF2B5EF4-FFF2-40B4-BE49-F238E27FC236}">
                <a16:creationId xmlns:a16="http://schemas.microsoft.com/office/drawing/2014/main" id="{C693F1BB-A1FC-713C-6890-C59120BE839B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7810969" y="4938200"/>
            <a:ext cx="4031139" cy="65755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Peer 3 is usually evaluated with Target because we both have </a:t>
            </a:r>
            <a:r>
              <a:rPr lang="en-US" sz="1200" b="1" i="1" dirty="0"/>
              <a:t>primarily mid-sized customers</a:t>
            </a:r>
            <a:r>
              <a:rPr lang="en-US" sz="1200" i="1" dirty="0"/>
              <a:t>.”</a:t>
            </a:r>
            <a:endParaRPr lang="en-US" sz="1200" i="1" dirty="0">
              <a:solidFill>
                <a:srgbClr val="CC0000"/>
              </a:solidFill>
            </a:endParaRP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nior Director of Business Technology, Customer #25</a:t>
            </a:r>
            <a:r>
              <a:rPr lang="en-US" sz="1400" dirty="0"/>
              <a:t> </a:t>
            </a:r>
          </a:p>
        </p:txBody>
      </p:sp>
      <p:sp>
        <p:nvSpPr>
          <p:cNvPr id="27" name="btfpQuoteBox928029">
            <a:extLst>
              <a:ext uri="{FF2B5EF4-FFF2-40B4-BE49-F238E27FC236}">
                <a16:creationId xmlns:a16="http://schemas.microsoft.com/office/drawing/2014/main" id="{42C8FFED-2EF7-E9F5-9B92-0604CD20DBE5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7810969" y="5690009"/>
            <a:ext cx="4031139" cy="81144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In addition to Target, </a:t>
            </a:r>
            <a:r>
              <a:rPr lang="en-US" sz="1200" b="1" i="1" dirty="0"/>
              <a:t>we evaluated Peer 1, Peer 4, and Peer 3</a:t>
            </a:r>
            <a:r>
              <a:rPr lang="en-US" sz="1200" i="1" dirty="0"/>
              <a:t>... I would say Peer 1 was the closest competitor to Target.”</a:t>
            </a:r>
            <a:endParaRPr lang="en-US" sz="1200" i="1" dirty="0">
              <a:solidFill>
                <a:srgbClr val="CC0000"/>
              </a:solidFill>
            </a:endParaRP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200" dirty="0"/>
              <a:t>Director of IT, Customer #23</a:t>
            </a:r>
          </a:p>
        </p:txBody>
      </p:sp>
      <p:grpSp>
        <p:nvGrpSpPr>
          <p:cNvPr id="25" name="btfpRunningAgenda2Level301519">
            <a:extLst>
              <a:ext uri="{FF2B5EF4-FFF2-40B4-BE49-F238E27FC236}">
                <a16:creationId xmlns:a16="http://schemas.microsoft.com/office/drawing/2014/main" id="{C98BFC46-469D-8DBA-BF33-0B640C2A6EAD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944429"/>
            <a:ext cx="7234191" cy="257442"/>
            <a:chOff x="0" y="876300"/>
            <a:chExt cx="7234191" cy="257442"/>
          </a:xfrm>
        </p:grpSpPr>
        <p:sp>
          <p:nvSpPr>
            <p:cNvPr id="26" name="btfpRunningAgenda2LevelBarLeft301519">
              <a:extLst>
                <a:ext uri="{FF2B5EF4-FFF2-40B4-BE49-F238E27FC236}">
                  <a16:creationId xmlns:a16="http://schemas.microsoft.com/office/drawing/2014/main" id="{F53D229F-E259-7954-74B2-548A6A7E42AE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RunningAgenda2LevelTextLeft301519">
              <a:extLst>
                <a:ext uri="{FF2B5EF4-FFF2-40B4-BE49-F238E27FC236}">
                  <a16:creationId xmlns:a16="http://schemas.microsoft.com/office/drawing/2014/main" id="{33E49AF6-5100-BDD6-D83B-8F3BBFE35F38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30" name="btfpRunningAgenda2LevelBarRight301519">
              <a:extLst>
                <a:ext uri="{FF2B5EF4-FFF2-40B4-BE49-F238E27FC236}">
                  <a16:creationId xmlns:a16="http://schemas.microsoft.com/office/drawing/2014/main" id="{EA94F675-144C-F126-2521-CD34BE2EBEC1}"/>
                </a:ext>
              </a:extLst>
            </p:cNvPr>
            <p:cNvSpPr/>
            <p:nvPr/>
          </p:nvSpPr>
          <p:spPr bwMode="gray">
            <a:xfrm>
              <a:off x="3903342" y="876300"/>
              <a:ext cx="3233284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42787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54722 w 942787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4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447733 w 1561326"/>
                <a:gd name="connsiteY0" fmla="*/ 0 h 257442"/>
                <a:gd name="connsiteX1" fmla="*/ 1561326 w 1561326"/>
                <a:gd name="connsiteY1" fmla="*/ 257442 h 257442"/>
                <a:gd name="connsiteX2" fmla="*/ 0 w 1561326"/>
                <a:gd name="connsiteY2" fmla="*/ 257442 h 257442"/>
                <a:gd name="connsiteX3" fmla="*/ 54722 w 1561326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1 w 1447731"/>
                <a:gd name="connsiteY0" fmla="*/ 0 h 257442"/>
                <a:gd name="connsiteX1" fmla="*/ 1393010 w 1447731"/>
                <a:gd name="connsiteY1" fmla="*/ 257442 h 257442"/>
                <a:gd name="connsiteX2" fmla="*/ 0 w 1447731"/>
                <a:gd name="connsiteY2" fmla="*/ 257442 h 257442"/>
                <a:gd name="connsiteX3" fmla="*/ 54720 w 1447731"/>
                <a:gd name="connsiteY3" fmla="*/ 0 h 257442"/>
                <a:gd name="connsiteX0" fmla="*/ 1447731 w 1447731"/>
                <a:gd name="connsiteY0" fmla="*/ 0 h 257442"/>
                <a:gd name="connsiteX1" fmla="*/ 1393010 w 1447731"/>
                <a:gd name="connsiteY1" fmla="*/ 257442 h 257442"/>
                <a:gd name="connsiteX2" fmla="*/ 0 w 1447731"/>
                <a:gd name="connsiteY2" fmla="*/ 257442 h 257442"/>
                <a:gd name="connsiteX3" fmla="*/ 54721 w 1447731"/>
                <a:gd name="connsiteY3" fmla="*/ 0 h 257442"/>
                <a:gd name="connsiteX0" fmla="*/ 1279416 w 1393010"/>
                <a:gd name="connsiteY0" fmla="*/ 0 h 257442"/>
                <a:gd name="connsiteX1" fmla="*/ 1393010 w 1393010"/>
                <a:gd name="connsiteY1" fmla="*/ 257442 h 257442"/>
                <a:gd name="connsiteX2" fmla="*/ 0 w 1393010"/>
                <a:gd name="connsiteY2" fmla="*/ 257442 h 257442"/>
                <a:gd name="connsiteX3" fmla="*/ 54721 w 1393010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447732 w 1447732"/>
                <a:gd name="connsiteY0" fmla="*/ 0 h 257442"/>
                <a:gd name="connsiteX1" fmla="*/ 1224695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616047 w 1616047"/>
                <a:gd name="connsiteY0" fmla="*/ 0 h 257442"/>
                <a:gd name="connsiteX1" fmla="*/ 1393011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944663 w 1944663"/>
                <a:gd name="connsiteY0" fmla="*/ 0 h 257442"/>
                <a:gd name="connsiteX1" fmla="*/ 17296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2213967 w 2213967"/>
                <a:gd name="connsiteY0" fmla="*/ 0 h 257442"/>
                <a:gd name="connsiteX1" fmla="*/ 1889942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391900 w 2391900"/>
                <a:gd name="connsiteY0" fmla="*/ 0 h 257442"/>
                <a:gd name="connsiteX1" fmla="*/ 2159246 w 2391900"/>
                <a:gd name="connsiteY1" fmla="*/ 257442 h 257442"/>
                <a:gd name="connsiteX2" fmla="*/ 0 w 2391900"/>
                <a:gd name="connsiteY2" fmla="*/ 257442 h 257442"/>
                <a:gd name="connsiteX3" fmla="*/ 54721 w 2391900"/>
                <a:gd name="connsiteY3" fmla="*/ 0 h 257442"/>
                <a:gd name="connsiteX0" fmla="*/ 2391900 w 2391900"/>
                <a:gd name="connsiteY0" fmla="*/ 0 h 257442"/>
                <a:gd name="connsiteX1" fmla="*/ 2337178 w 2391900"/>
                <a:gd name="connsiteY1" fmla="*/ 257442 h 257442"/>
                <a:gd name="connsiteX2" fmla="*/ 0 w 2391900"/>
                <a:gd name="connsiteY2" fmla="*/ 257442 h 257442"/>
                <a:gd name="connsiteX3" fmla="*/ 54721 w 2391900"/>
                <a:gd name="connsiteY3" fmla="*/ 0 h 257442"/>
                <a:gd name="connsiteX0" fmla="*/ 2391901 w 2391901"/>
                <a:gd name="connsiteY0" fmla="*/ 0 h 257442"/>
                <a:gd name="connsiteX1" fmla="*/ 2337179 w 2391901"/>
                <a:gd name="connsiteY1" fmla="*/ 257442 h 257442"/>
                <a:gd name="connsiteX2" fmla="*/ 0 w 2391901"/>
                <a:gd name="connsiteY2" fmla="*/ 257442 h 257442"/>
                <a:gd name="connsiteX3" fmla="*/ 54722 w 2391901"/>
                <a:gd name="connsiteY3" fmla="*/ 0 h 257442"/>
                <a:gd name="connsiteX0" fmla="*/ 2391901 w 2391901"/>
                <a:gd name="connsiteY0" fmla="*/ 0 h 257442"/>
                <a:gd name="connsiteX1" fmla="*/ 2337179 w 2391901"/>
                <a:gd name="connsiteY1" fmla="*/ 257442 h 257442"/>
                <a:gd name="connsiteX2" fmla="*/ 0 w 2391901"/>
                <a:gd name="connsiteY2" fmla="*/ 257442 h 257442"/>
                <a:gd name="connsiteX3" fmla="*/ 54722 w 2391901"/>
                <a:gd name="connsiteY3" fmla="*/ 0 h 257442"/>
                <a:gd name="connsiteX0" fmla="*/ 2653191 w 2653191"/>
                <a:gd name="connsiteY0" fmla="*/ 0 h 257442"/>
                <a:gd name="connsiteX1" fmla="*/ 2337179 w 2653191"/>
                <a:gd name="connsiteY1" fmla="*/ 257442 h 257442"/>
                <a:gd name="connsiteX2" fmla="*/ 0 w 2653191"/>
                <a:gd name="connsiteY2" fmla="*/ 257442 h 257442"/>
                <a:gd name="connsiteX3" fmla="*/ 54722 w 2653191"/>
                <a:gd name="connsiteY3" fmla="*/ 0 h 257442"/>
                <a:gd name="connsiteX0" fmla="*/ 2653191 w 2653191"/>
                <a:gd name="connsiteY0" fmla="*/ 0 h 257442"/>
                <a:gd name="connsiteX1" fmla="*/ 2598470 w 2653191"/>
                <a:gd name="connsiteY1" fmla="*/ 257442 h 257442"/>
                <a:gd name="connsiteX2" fmla="*/ 0 w 2653191"/>
                <a:gd name="connsiteY2" fmla="*/ 257442 h 257442"/>
                <a:gd name="connsiteX3" fmla="*/ 54722 w 2653191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0 w 2653190"/>
                <a:gd name="connsiteY3" fmla="*/ 0 h 257442"/>
                <a:gd name="connsiteX0" fmla="*/ 2821504 w 2821504"/>
                <a:gd name="connsiteY0" fmla="*/ 0 h 257442"/>
                <a:gd name="connsiteX1" fmla="*/ 2598469 w 2821504"/>
                <a:gd name="connsiteY1" fmla="*/ 257442 h 257442"/>
                <a:gd name="connsiteX2" fmla="*/ 0 w 2821504"/>
                <a:gd name="connsiteY2" fmla="*/ 257442 h 257442"/>
                <a:gd name="connsiteX3" fmla="*/ 54720 w 2821504"/>
                <a:gd name="connsiteY3" fmla="*/ 0 h 257442"/>
                <a:gd name="connsiteX0" fmla="*/ 2821504 w 2821504"/>
                <a:gd name="connsiteY0" fmla="*/ 0 h 257442"/>
                <a:gd name="connsiteX1" fmla="*/ 2766783 w 2821504"/>
                <a:gd name="connsiteY1" fmla="*/ 257442 h 257442"/>
                <a:gd name="connsiteX2" fmla="*/ 0 w 2821504"/>
                <a:gd name="connsiteY2" fmla="*/ 257442 h 257442"/>
                <a:gd name="connsiteX3" fmla="*/ 54720 w 2821504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2 w 2821505"/>
                <a:gd name="connsiteY3" fmla="*/ 0 h 257442"/>
                <a:gd name="connsiteX0" fmla="*/ 2999439 w 2999439"/>
                <a:gd name="connsiteY0" fmla="*/ 0 h 257442"/>
                <a:gd name="connsiteX1" fmla="*/ 2766784 w 2999439"/>
                <a:gd name="connsiteY1" fmla="*/ 257442 h 257442"/>
                <a:gd name="connsiteX2" fmla="*/ 0 w 2999439"/>
                <a:gd name="connsiteY2" fmla="*/ 257442 h 257442"/>
                <a:gd name="connsiteX3" fmla="*/ 54722 w 2999439"/>
                <a:gd name="connsiteY3" fmla="*/ 0 h 257442"/>
                <a:gd name="connsiteX0" fmla="*/ 2999439 w 2999439"/>
                <a:gd name="connsiteY0" fmla="*/ 0 h 257442"/>
                <a:gd name="connsiteX1" fmla="*/ 2944719 w 2999439"/>
                <a:gd name="connsiteY1" fmla="*/ 257442 h 257442"/>
                <a:gd name="connsiteX2" fmla="*/ 0 w 2999439"/>
                <a:gd name="connsiteY2" fmla="*/ 257442 h 257442"/>
                <a:gd name="connsiteX3" fmla="*/ 54722 w 2999439"/>
                <a:gd name="connsiteY3" fmla="*/ 0 h 257442"/>
                <a:gd name="connsiteX0" fmla="*/ 2999438 w 2999438"/>
                <a:gd name="connsiteY0" fmla="*/ 0 h 257442"/>
                <a:gd name="connsiteX1" fmla="*/ 2944718 w 2999438"/>
                <a:gd name="connsiteY1" fmla="*/ 257442 h 257442"/>
                <a:gd name="connsiteX2" fmla="*/ 0 w 2999438"/>
                <a:gd name="connsiteY2" fmla="*/ 257442 h 257442"/>
                <a:gd name="connsiteX3" fmla="*/ 54721 w 2999438"/>
                <a:gd name="connsiteY3" fmla="*/ 0 h 257442"/>
                <a:gd name="connsiteX0" fmla="*/ 2999438 w 2999438"/>
                <a:gd name="connsiteY0" fmla="*/ 0 h 257442"/>
                <a:gd name="connsiteX1" fmla="*/ 2944718 w 2999438"/>
                <a:gd name="connsiteY1" fmla="*/ 257442 h 257442"/>
                <a:gd name="connsiteX2" fmla="*/ 0 w 2999438"/>
                <a:gd name="connsiteY2" fmla="*/ 257442 h 257442"/>
                <a:gd name="connsiteX3" fmla="*/ 54720 w 2999438"/>
                <a:gd name="connsiteY3" fmla="*/ 0 h 257442"/>
                <a:gd name="connsiteX0" fmla="*/ 3167753 w 3167753"/>
                <a:gd name="connsiteY0" fmla="*/ 0 h 257442"/>
                <a:gd name="connsiteX1" fmla="*/ 2944718 w 3167753"/>
                <a:gd name="connsiteY1" fmla="*/ 257442 h 257442"/>
                <a:gd name="connsiteX2" fmla="*/ 0 w 3167753"/>
                <a:gd name="connsiteY2" fmla="*/ 257442 h 257442"/>
                <a:gd name="connsiteX3" fmla="*/ 54720 w 3167753"/>
                <a:gd name="connsiteY3" fmla="*/ 0 h 257442"/>
                <a:gd name="connsiteX0" fmla="*/ 3167753 w 3167753"/>
                <a:gd name="connsiteY0" fmla="*/ 0 h 257442"/>
                <a:gd name="connsiteX1" fmla="*/ 3113032 w 3167753"/>
                <a:gd name="connsiteY1" fmla="*/ 257442 h 257442"/>
                <a:gd name="connsiteX2" fmla="*/ 0 w 3167753"/>
                <a:gd name="connsiteY2" fmla="*/ 257442 h 257442"/>
                <a:gd name="connsiteX3" fmla="*/ 54720 w 3167753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328054 w 3328054"/>
                <a:gd name="connsiteY0" fmla="*/ 0 h 257442"/>
                <a:gd name="connsiteX1" fmla="*/ 31130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648654 w 3648654"/>
                <a:gd name="connsiteY0" fmla="*/ 0 h 257442"/>
                <a:gd name="connsiteX1" fmla="*/ 3433633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950801 w 3593934"/>
                <a:gd name="connsiteY0" fmla="*/ 0 h 257442"/>
                <a:gd name="connsiteX1" fmla="*/ 3593934 w 3593934"/>
                <a:gd name="connsiteY1" fmla="*/ 257442 h 257442"/>
                <a:gd name="connsiteX2" fmla="*/ 0 w 3593934"/>
                <a:gd name="connsiteY2" fmla="*/ 257442 h 257442"/>
                <a:gd name="connsiteX3" fmla="*/ 54721 w 359393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54721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80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726655 w 1726655"/>
                <a:gd name="connsiteY0" fmla="*/ 0 h 257442"/>
                <a:gd name="connsiteX1" fmla="*/ 1402629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23586 w 2223586"/>
                <a:gd name="connsiteY0" fmla="*/ 0 h 257442"/>
                <a:gd name="connsiteX1" fmla="*/ 2000549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1 w 2223586"/>
                <a:gd name="connsiteY3" fmla="*/ 0 h 257442"/>
                <a:gd name="connsiteX0" fmla="*/ 2539633 w 2539633"/>
                <a:gd name="connsiteY0" fmla="*/ 0 h 257442"/>
                <a:gd name="connsiteX1" fmla="*/ 2168864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808937 w 2808937"/>
                <a:gd name="connsiteY0" fmla="*/ 0 h 257442"/>
                <a:gd name="connsiteX1" fmla="*/ 2484912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3070228 w 3070228"/>
                <a:gd name="connsiteY0" fmla="*/ 0 h 257442"/>
                <a:gd name="connsiteX1" fmla="*/ 2754217 w 3070228"/>
                <a:gd name="connsiteY1" fmla="*/ 257442 h 257442"/>
                <a:gd name="connsiteX2" fmla="*/ 0 w 3070228"/>
                <a:gd name="connsiteY2" fmla="*/ 257442 h 257442"/>
                <a:gd name="connsiteX3" fmla="*/ 54721 w 3070228"/>
                <a:gd name="connsiteY3" fmla="*/ 0 h 257442"/>
                <a:gd name="connsiteX0" fmla="*/ 3070228 w 3070228"/>
                <a:gd name="connsiteY0" fmla="*/ 0 h 257442"/>
                <a:gd name="connsiteX1" fmla="*/ 3015506 w 3070228"/>
                <a:gd name="connsiteY1" fmla="*/ 257442 h 257442"/>
                <a:gd name="connsiteX2" fmla="*/ 0 w 3070228"/>
                <a:gd name="connsiteY2" fmla="*/ 257442 h 257442"/>
                <a:gd name="connsiteX3" fmla="*/ 54721 w 3070228"/>
                <a:gd name="connsiteY3" fmla="*/ 0 h 257442"/>
                <a:gd name="connsiteX0" fmla="*/ 3070229 w 3070229"/>
                <a:gd name="connsiteY0" fmla="*/ 0 h 257442"/>
                <a:gd name="connsiteX1" fmla="*/ 3015507 w 3070229"/>
                <a:gd name="connsiteY1" fmla="*/ 257442 h 257442"/>
                <a:gd name="connsiteX2" fmla="*/ 0 w 3070229"/>
                <a:gd name="connsiteY2" fmla="*/ 257442 h 257442"/>
                <a:gd name="connsiteX3" fmla="*/ 54722 w 3070229"/>
                <a:gd name="connsiteY3" fmla="*/ 0 h 257442"/>
                <a:gd name="connsiteX0" fmla="*/ 3070229 w 3070229"/>
                <a:gd name="connsiteY0" fmla="*/ 0 h 257442"/>
                <a:gd name="connsiteX1" fmla="*/ 3015507 w 3070229"/>
                <a:gd name="connsiteY1" fmla="*/ 257442 h 257442"/>
                <a:gd name="connsiteX2" fmla="*/ 0 w 3070229"/>
                <a:gd name="connsiteY2" fmla="*/ 257442 h 257442"/>
                <a:gd name="connsiteX3" fmla="*/ 54722 w 3070229"/>
                <a:gd name="connsiteY3" fmla="*/ 0 h 257442"/>
                <a:gd name="connsiteX0" fmla="*/ 3230529 w 3230529"/>
                <a:gd name="connsiteY0" fmla="*/ 0 h 257442"/>
                <a:gd name="connsiteX1" fmla="*/ 3015507 w 3230529"/>
                <a:gd name="connsiteY1" fmla="*/ 257442 h 257442"/>
                <a:gd name="connsiteX2" fmla="*/ 0 w 3230529"/>
                <a:gd name="connsiteY2" fmla="*/ 257442 h 257442"/>
                <a:gd name="connsiteX3" fmla="*/ 54722 w 3230529"/>
                <a:gd name="connsiteY3" fmla="*/ 0 h 257442"/>
                <a:gd name="connsiteX0" fmla="*/ 3230529 w 3230529"/>
                <a:gd name="connsiteY0" fmla="*/ 0 h 257442"/>
                <a:gd name="connsiteX1" fmla="*/ 3175808 w 3230529"/>
                <a:gd name="connsiteY1" fmla="*/ 257442 h 257442"/>
                <a:gd name="connsiteX2" fmla="*/ 0 w 3230529"/>
                <a:gd name="connsiteY2" fmla="*/ 257442 h 257442"/>
                <a:gd name="connsiteX3" fmla="*/ 54722 w 3230529"/>
                <a:gd name="connsiteY3" fmla="*/ 0 h 257442"/>
                <a:gd name="connsiteX0" fmla="*/ 3230528 w 3230528"/>
                <a:gd name="connsiteY0" fmla="*/ 0 h 257442"/>
                <a:gd name="connsiteX1" fmla="*/ 3175807 w 3230528"/>
                <a:gd name="connsiteY1" fmla="*/ 257442 h 257442"/>
                <a:gd name="connsiteX2" fmla="*/ 0 w 3230528"/>
                <a:gd name="connsiteY2" fmla="*/ 257442 h 257442"/>
                <a:gd name="connsiteX3" fmla="*/ 54721 w 3230528"/>
                <a:gd name="connsiteY3" fmla="*/ 0 h 257442"/>
                <a:gd name="connsiteX0" fmla="*/ 3230528 w 3230528"/>
                <a:gd name="connsiteY0" fmla="*/ 0 h 257442"/>
                <a:gd name="connsiteX1" fmla="*/ 3175807 w 3230528"/>
                <a:gd name="connsiteY1" fmla="*/ 257442 h 257442"/>
                <a:gd name="connsiteX2" fmla="*/ 0 w 3230528"/>
                <a:gd name="connsiteY2" fmla="*/ 257442 h 257442"/>
                <a:gd name="connsiteX3" fmla="*/ 54720 w 3230528"/>
                <a:gd name="connsiteY3" fmla="*/ 0 h 257442"/>
                <a:gd name="connsiteX0" fmla="*/ 3070227 w 3175807"/>
                <a:gd name="connsiteY0" fmla="*/ 0 h 257442"/>
                <a:gd name="connsiteX1" fmla="*/ 3175807 w 3175807"/>
                <a:gd name="connsiteY1" fmla="*/ 257442 h 257442"/>
                <a:gd name="connsiteX2" fmla="*/ 0 w 3175807"/>
                <a:gd name="connsiteY2" fmla="*/ 257442 h 257442"/>
                <a:gd name="connsiteX3" fmla="*/ 54720 w 317580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0 w 307022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0 w 307022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1 w 3070227"/>
                <a:gd name="connsiteY3" fmla="*/ 0 h 257442"/>
                <a:gd name="connsiteX0" fmla="*/ 2909927 w 3015507"/>
                <a:gd name="connsiteY0" fmla="*/ 0 h 257442"/>
                <a:gd name="connsiteX1" fmla="*/ 3015507 w 3015507"/>
                <a:gd name="connsiteY1" fmla="*/ 257442 h 257442"/>
                <a:gd name="connsiteX2" fmla="*/ 0 w 3015507"/>
                <a:gd name="connsiteY2" fmla="*/ 257442 h 257442"/>
                <a:gd name="connsiteX3" fmla="*/ 54721 w 301550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640623 w 2855206"/>
                <a:gd name="connsiteY0" fmla="*/ 0 h 257442"/>
                <a:gd name="connsiteX1" fmla="*/ 2855206 w 2855206"/>
                <a:gd name="connsiteY1" fmla="*/ 257442 h 257442"/>
                <a:gd name="connsiteX2" fmla="*/ 0 w 2855206"/>
                <a:gd name="connsiteY2" fmla="*/ 257442 h 257442"/>
                <a:gd name="connsiteX3" fmla="*/ 54721 w 2855206"/>
                <a:gd name="connsiteY3" fmla="*/ 0 h 257442"/>
                <a:gd name="connsiteX0" fmla="*/ 2640623 w 2640623"/>
                <a:gd name="connsiteY0" fmla="*/ 0 h 257442"/>
                <a:gd name="connsiteX1" fmla="*/ 2585902 w 2640623"/>
                <a:gd name="connsiteY1" fmla="*/ 257442 h 257442"/>
                <a:gd name="connsiteX2" fmla="*/ 0 w 2640623"/>
                <a:gd name="connsiteY2" fmla="*/ 257442 h 257442"/>
                <a:gd name="connsiteX3" fmla="*/ 54721 w 2640623"/>
                <a:gd name="connsiteY3" fmla="*/ 0 h 257442"/>
                <a:gd name="connsiteX0" fmla="*/ 2640622 w 2640622"/>
                <a:gd name="connsiteY0" fmla="*/ 0 h 257442"/>
                <a:gd name="connsiteX1" fmla="*/ 2585901 w 2640622"/>
                <a:gd name="connsiteY1" fmla="*/ 257442 h 257442"/>
                <a:gd name="connsiteX2" fmla="*/ 0 w 2640622"/>
                <a:gd name="connsiteY2" fmla="*/ 257442 h 257442"/>
                <a:gd name="connsiteX3" fmla="*/ 54720 w 2640622"/>
                <a:gd name="connsiteY3" fmla="*/ 0 h 257442"/>
                <a:gd name="connsiteX0" fmla="*/ 2640622 w 2640622"/>
                <a:gd name="connsiteY0" fmla="*/ 0 h 257442"/>
                <a:gd name="connsiteX1" fmla="*/ 2585901 w 2640622"/>
                <a:gd name="connsiteY1" fmla="*/ 257442 h 257442"/>
                <a:gd name="connsiteX2" fmla="*/ 0 w 2640622"/>
                <a:gd name="connsiteY2" fmla="*/ 257442 h 257442"/>
                <a:gd name="connsiteX3" fmla="*/ 54720 w 2640622"/>
                <a:gd name="connsiteY3" fmla="*/ 0 h 257442"/>
                <a:gd name="connsiteX0" fmla="*/ 2539632 w 2585901"/>
                <a:gd name="connsiteY0" fmla="*/ 0 h 257442"/>
                <a:gd name="connsiteX1" fmla="*/ 2585901 w 2585901"/>
                <a:gd name="connsiteY1" fmla="*/ 257442 h 257442"/>
                <a:gd name="connsiteX2" fmla="*/ 0 w 2585901"/>
                <a:gd name="connsiteY2" fmla="*/ 257442 h 257442"/>
                <a:gd name="connsiteX3" fmla="*/ 54720 w 2585901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1 w 2539632"/>
                <a:gd name="connsiteY3" fmla="*/ 0 h 257442"/>
                <a:gd name="connsiteX0" fmla="*/ 2364457 w 2484912"/>
                <a:gd name="connsiteY0" fmla="*/ 0 h 257442"/>
                <a:gd name="connsiteX1" fmla="*/ 2484912 w 2484912"/>
                <a:gd name="connsiteY1" fmla="*/ 257442 h 257442"/>
                <a:gd name="connsiteX2" fmla="*/ 0 w 2484912"/>
                <a:gd name="connsiteY2" fmla="*/ 257442 h 257442"/>
                <a:gd name="connsiteX3" fmla="*/ 54721 w 2484912"/>
                <a:gd name="connsiteY3" fmla="*/ 0 h 257442"/>
                <a:gd name="connsiteX0" fmla="*/ 2364457 w 2364457"/>
                <a:gd name="connsiteY0" fmla="*/ 0 h 257442"/>
                <a:gd name="connsiteX1" fmla="*/ 2309736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364456 w 2364456"/>
                <a:gd name="connsiteY0" fmla="*/ 0 h 257442"/>
                <a:gd name="connsiteX1" fmla="*/ 2309735 w 2364456"/>
                <a:gd name="connsiteY1" fmla="*/ 257442 h 257442"/>
                <a:gd name="connsiteX2" fmla="*/ 0 w 2364456"/>
                <a:gd name="connsiteY2" fmla="*/ 257442 h 257442"/>
                <a:gd name="connsiteX3" fmla="*/ 54720 w 2364456"/>
                <a:gd name="connsiteY3" fmla="*/ 0 h 257442"/>
                <a:gd name="connsiteX0" fmla="*/ 2364456 w 2364456"/>
                <a:gd name="connsiteY0" fmla="*/ 0 h 257442"/>
                <a:gd name="connsiteX1" fmla="*/ 2309735 w 2364456"/>
                <a:gd name="connsiteY1" fmla="*/ 257442 h 257442"/>
                <a:gd name="connsiteX2" fmla="*/ 0 w 2364456"/>
                <a:gd name="connsiteY2" fmla="*/ 257442 h 257442"/>
                <a:gd name="connsiteX3" fmla="*/ 54720 w 2364456"/>
                <a:gd name="connsiteY3" fmla="*/ 0 h 257442"/>
                <a:gd name="connsiteX0" fmla="*/ 2643378 w 2643378"/>
                <a:gd name="connsiteY0" fmla="*/ 0 h 257442"/>
                <a:gd name="connsiteX1" fmla="*/ 2309735 w 2643378"/>
                <a:gd name="connsiteY1" fmla="*/ 257442 h 257442"/>
                <a:gd name="connsiteX2" fmla="*/ 0 w 2643378"/>
                <a:gd name="connsiteY2" fmla="*/ 257442 h 257442"/>
                <a:gd name="connsiteX3" fmla="*/ 54720 w 2643378"/>
                <a:gd name="connsiteY3" fmla="*/ 0 h 257442"/>
                <a:gd name="connsiteX0" fmla="*/ 2643378 w 2643378"/>
                <a:gd name="connsiteY0" fmla="*/ 0 h 257442"/>
                <a:gd name="connsiteX1" fmla="*/ 2588657 w 2643378"/>
                <a:gd name="connsiteY1" fmla="*/ 257442 h 257442"/>
                <a:gd name="connsiteX2" fmla="*/ 0 w 2643378"/>
                <a:gd name="connsiteY2" fmla="*/ 257442 h 257442"/>
                <a:gd name="connsiteX3" fmla="*/ 54720 w 2643378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2 w 2643379"/>
                <a:gd name="connsiteY3" fmla="*/ 0 h 257442"/>
                <a:gd name="connsiteX0" fmla="*/ 2811696 w 2811696"/>
                <a:gd name="connsiteY0" fmla="*/ 0 h 257442"/>
                <a:gd name="connsiteX1" fmla="*/ 2588658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1 w 2811696"/>
                <a:gd name="connsiteY3" fmla="*/ 0 h 257442"/>
                <a:gd name="connsiteX0" fmla="*/ 3072984 w 3072984"/>
                <a:gd name="connsiteY0" fmla="*/ 0 h 257442"/>
                <a:gd name="connsiteX1" fmla="*/ 2756974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233284 w 3233284"/>
                <a:gd name="connsiteY0" fmla="*/ 0 h 257442"/>
                <a:gd name="connsiteX1" fmla="*/ 30182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3284" h="257442">
                  <a:moveTo>
                    <a:pt x="3233284" y="0"/>
                  </a:moveTo>
                  <a:lnTo>
                    <a:pt x="3178563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RunningAgenda2LevelTextRight301519">
              <a:extLst>
                <a:ext uri="{FF2B5EF4-FFF2-40B4-BE49-F238E27FC236}">
                  <a16:creationId xmlns:a16="http://schemas.microsoft.com/office/drawing/2014/main" id="{0A454DBB-7195-AC44-ACDB-A1A30F2F6E9A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33308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ideration se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0071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69FFDFB5-E0FB-60ED-4425-739400267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84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06" imgH="608" progId="TCLayout.ActiveDocument.1">
                  <p:embed/>
                </p:oleObj>
              </mc:Choice>
              <mc:Fallback>
                <p:oleObj name="think-cell Slide" r:id="rId8" imgW="606" imgH="608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FFDFB5-E0FB-60ED-4425-739400267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6" name="Table 135">
            <a:extLst>
              <a:ext uri="{FF2B5EF4-FFF2-40B4-BE49-F238E27FC236}">
                <a16:creationId xmlns:a16="http://schemas.microsoft.com/office/drawing/2014/main" id="{8D3973FA-DB25-F3DA-D88E-E35FD135C6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548641"/>
              </p:ext>
            </p:extLst>
          </p:nvPr>
        </p:nvGraphicFramePr>
        <p:xfrm>
          <a:off x="330200" y="2321565"/>
          <a:ext cx="5510126" cy="4023360"/>
        </p:xfrm>
        <a:graphic>
          <a:graphicData uri="http://schemas.openxmlformats.org/drawingml/2006/table">
            <a:tbl>
              <a:tblPr/>
              <a:tblGrid>
                <a:gridCol w="1377531">
                  <a:extLst>
                    <a:ext uri="{9D8B030D-6E8A-4147-A177-3AD203B41FA5}">
                      <a16:colId xmlns:a16="http://schemas.microsoft.com/office/drawing/2014/main" val="4229337837"/>
                    </a:ext>
                  </a:extLst>
                </a:gridCol>
                <a:gridCol w="826519">
                  <a:extLst>
                    <a:ext uri="{9D8B030D-6E8A-4147-A177-3AD203B41FA5}">
                      <a16:colId xmlns:a16="http://schemas.microsoft.com/office/drawing/2014/main" val="1004557631"/>
                    </a:ext>
                  </a:extLst>
                </a:gridCol>
                <a:gridCol w="826519">
                  <a:extLst>
                    <a:ext uri="{9D8B030D-6E8A-4147-A177-3AD203B41FA5}">
                      <a16:colId xmlns:a16="http://schemas.microsoft.com/office/drawing/2014/main" val="4095635733"/>
                    </a:ext>
                  </a:extLst>
                </a:gridCol>
                <a:gridCol w="826519">
                  <a:extLst>
                    <a:ext uri="{9D8B030D-6E8A-4147-A177-3AD203B41FA5}">
                      <a16:colId xmlns:a16="http://schemas.microsoft.com/office/drawing/2014/main" val="2851145494"/>
                    </a:ext>
                  </a:extLst>
                </a:gridCol>
                <a:gridCol w="826519">
                  <a:extLst>
                    <a:ext uri="{9D8B030D-6E8A-4147-A177-3AD203B41FA5}">
                      <a16:colId xmlns:a16="http://schemas.microsoft.com/office/drawing/2014/main" val="3650873997"/>
                    </a:ext>
                  </a:extLst>
                </a:gridCol>
                <a:gridCol w="826519">
                  <a:extLst>
                    <a:ext uri="{9D8B030D-6E8A-4147-A177-3AD203B41FA5}">
                      <a16:colId xmlns:a16="http://schemas.microsoft.com/office/drawing/2014/main" val="190112959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1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3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18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wer MM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12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pper MM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12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erprise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N=9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97695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400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6698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79738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29102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76874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4101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67549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2491413"/>
                  </a:ext>
                </a:extLst>
              </a:tr>
            </a:tbl>
          </a:graphicData>
        </a:graphic>
      </p:graphicFrame>
      <p:graphicFrame>
        <p:nvGraphicFramePr>
          <p:cNvPr id="137" name="Table 136">
            <a:extLst>
              <a:ext uri="{FF2B5EF4-FFF2-40B4-BE49-F238E27FC236}">
                <a16:creationId xmlns:a16="http://schemas.microsoft.com/office/drawing/2014/main" id="{D9C213A4-8E42-DE31-823F-EC592DB939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565482"/>
              </p:ext>
            </p:extLst>
          </p:nvPr>
        </p:nvGraphicFramePr>
        <p:xfrm>
          <a:off x="6361494" y="2321565"/>
          <a:ext cx="5495544" cy="4023360"/>
        </p:xfrm>
        <a:graphic>
          <a:graphicData uri="http://schemas.openxmlformats.org/drawingml/2006/table">
            <a:tbl>
              <a:tblPr/>
              <a:tblGrid>
                <a:gridCol w="1380744">
                  <a:extLst>
                    <a:ext uri="{9D8B030D-6E8A-4147-A177-3AD203B41FA5}">
                      <a16:colId xmlns:a16="http://schemas.microsoft.com/office/drawing/2014/main" val="2322417440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2781399801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177908251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510016069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639115567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20268188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11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selected of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wer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pper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erpris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567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4195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97047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51335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84908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44348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73848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06954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46153"/>
                  </a:ext>
                </a:extLst>
              </a:tr>
            </a:tbl>
          </a:graphicData>
        </a:graphic>
      </p:graphicFrame>
      <p:grpSp>
        <p:nvGrpSpPr>
          <p:cNvPr id="128" name="btfpColumnIndicatorGroup2">
            <a:extLst>
              <a:ext uri="{FF2B5EF4-FFF2-40B4-BE49-F238E27FC236}">
                <a16:creationId xmlns:a16="http://schemas.microsoft.com/office/drawing/2014/main" id="{691B59D5-1135-4248-D873-1F37AA7BD23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6" name="btfpColumnGapBlocker370696">
              <a:extLst>
                <a:ext uri="{FF2B5EF4-FFF2-40B4-BE49-F238E27FC236}">
                  <a16:creationId xmlns:a16="http://schemas.microsoft.com/office/drawing/2014/main" id="{491D69CB-37FE-FCE3-FE26-813F8C6E1C1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4" name="btfpColumnGapBlocker334889">
              <a:extLst>
                <a:ext uri="{FF2B5EF4-FFF2-40B4-BE49-F238E27FC236}">
                  <a16:creationId xmlns:a16="http://schemas.microsoft.com/office/drawing/2014/main" id="{BD8F456B-E3AA-13B4-33CB-23FF04E9C2BF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btfpColumnIndicator894675">
              <a:extLst>
                <a:ext uri="{FF2B5EF4-FFF2-40B4-BE49-F238E27FC236}">
                  <a16:creationId xmlns:a16="http://schemas.microsoft.com/office/drawing/2014/main" id="{45447E30-EAC3-2D0C-949B-34948EED227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631734">
              <a:extLst>
                <a:ext uri="{FF2B5EF4-FFF2-40B4-BE49-F238E27FC236}">
                  <a16:creationId xmlns:a16="http://schemas.microsoft.com/office/drawing/2014/main" id="{B6D60480-BCDB-2F7F-AF0F-338F5E71642A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btfpColumnGapBlocker612342">
              <a:extLst>
                <a:ext uri="{FF2B5EF4-FFF2-40B4-BE49-F238E27FC236}">
                  <a16:creationId xmlns:a16="http://schemas.microsoft.com/office/drawing/2014/main" id="{4357A9A3-D7B2-CA1F-AFEB-7E227140D83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6" name="btfpColumnIndicator414860">
              <a:extLst>
                <a:ext uri="{FF2B5EF4-FFF2-40B4-BE49-F238E27FC236}">
                  <a16:creationId xmlns:a16="http://schemas.microsoft.com/office/drawing/2014/main" id="{70F0BBEA-9C14-5BBC-C5B5-08A5528C1F3C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btfpColumnIndicator494800">
              <a:extLst>
                <a:ext uri="{FF2B5EF4-FFF2-40B4-BE49-F238E27FC236}">
                  <a16:creationId xmlns:a16="http://schemas.microsoft.com/office/drawing/2014/main" id="{BCE51FE6-ECFE-5B66-92AF-1CE2EBE055F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IndicatorGroup1">
            <a:extLst>
              <a:ext uri="{FF2B5EF4-FFF2-40B4-BE49-F238E27FC236}">
                <a16:creationId xmlns:a16="http://schemas.microsoft.com/office/drawing/2014/main" id="{73F20795-0446-83EF-EEE6-DD6C607E9F9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5" name="btfpColumnGapBlocker232929">
              <a:extLst>
                <a:ext uri="{FF2B5EF4-FFF2-40B4-BE49-F238E27FC236}">
                  <a16:creationId xmlns:a16="http://schemas.microsoft.com/office/drawing/2014/main" id="{A0D57D68-AFFF-8F33-027B-9397D4B3070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3" name="btfpColumnGapBlocker720835">
              <a:extLst>
                <a:ext uri="{FF2B5EF4-FFF2-40B4-BE49-F238E27FC236}">
                  <a16:creationId xmlns:a16="http://schemas.microsoft.com/office/drawing/2014/main" id="{03E5037B-372F-BF92-820F-7B0C4FA2BB6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1" name="btfpColumnIndicator109092">
              <a:extLst>
                <a:ext uri="{FF2B5EF4-FFF2-40B4-BE49-F238E27FC236}">
                  <a16:creationId xmlns:a16="http://schemas.microsoft.com/office/drawing/2014/main" id="{3BF9E1DE-9E5A-7DB8-3B1D-36B67C1C12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btfpColumnIndicator729169">
              <a:extLst>
                <a:ext uri="{FF2B5EF4-FFF2-40B4-BE49-F238E27FC236}">
                  <a16:creationId xmlns:a16="http://schemas.microsoft.com/office/drawing/2014/main" id="{1104D3F5-B15B-7E98-8A4A-AB11F62E8A71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btfpColumnGapBlocker614911">
              <a:extLst>
                <a:ext uri="{FF2B5EF4-FFF2-40B4-BE49-F238E27FC236}">
                  <a16:creationId xmlns:a16="http://schemas.microsoft.com/office/drawing/2014/main" id="{A8C1F204-849D-BB83-F5B4-72345547835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5" name="btfpColumnIndicator465603">
              <a:extLst>
                <a:ext uri="{FF2B5EF4-FFF2-40B4-BE49-F238E27FC236}">
                  <a16:creationId xmlns:a16="http://schemas.microsoft.com/office/drawing/2014/main" id="{2B8D5CC3-335E-A19D-126B-E9204A830B5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btfpColumnIndicator604016">
              <a:extLst>
                <a:ext uri="{FF2B5EF4-FFF2-40B4-BE49-F238E27FC236}">
                  <a16:creationId xmlns:a16="http://schemas.microsoft.com/office/drawing/2014/main" id="{BEDA4D1E-9287-6929-8C6B-F5B76B81728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E7242FA-1D93-E05E-A1FE-E47FD418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Consideration and selection |</a:t>
            </a:r>
            <a:r>
              <a:rPr lang="en-US" dirty="0"/>
              <a:t> Target is considered less often than Peer 1 and Peer 2(x), but wins ~40% of the time when considered in sweet spot (SMB and MM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2FBEE7-6C5A-9FDE-3DE8-271E060B1B35}"/>
              </a:ext>
            </a:extLst>
          </p:cNvPr>
          <p:cNvSpPr/>
          <p:nvPr/>
        </p:nvSpPr>
        <p:spPr bwMode="gray">
          <a:xfrm>
            <a:off x="330200" y="1872588"/>
            <a:ext cx="5495525" cy="3120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i="1">
                <a:solidFill>
                  <a:srgbClr val="000000"/>
                </a:solidFill>
              </a:rPr>
              <a:t>Q:</a:t>
            </a:r>
            <a:r>
              <a:rPr lang="en-US" sz="1000" i="1">
                <a:solidFill>
                  <a:srgbClr val="000000"/>
                </a:solidFill>
              </a:rPr>
              <a:t> Which </a:t>
            </a:r>
            <a:r>
              <a:rPr lang="en-US" sz="1000" b="1" i="1">
                <a:solidFill>
                  <a:srgbClr val="000000"/>
                </a:solidFill>
              </a:rPr>
              <a:t>other vendors did you consider </a:t>
            </a:r>
            <a:r>
              <a:rPr lang="en-US" sz="1000" i="1">
                <a:solidFill>
                  <a:srgbClr val="000000"/>
                </a:solidFill>
              </a:rPr>
              <a:t>along with &lt;vendor&gt; at the time of your most recent purchase or reevaluation? 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021842-54BD-9454-6BC9-05B29E291A71}"/>
              </a:ext>
            </a:extLst>
          </p:cNvPr>
          <p:cNvSpPr/>
          <p:nvPr/>
        </p:nvSpPr>
        <p:spPr bwMode="gray">
          <a:xfrm>
            <a:off x="6361514" y="1872588"/>
            <a:ext cx="5495524" cy="3120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000" b="1" i="1">
                <a:solidFill>
                  <a:srgbClr val="000000"/>
                </a:solidFill>
              </a:rPr>
              <a:t>Implied win rate </a:t>
            </a:r>
            <a:r>
              <a:rPr lang="en-US" sz="1000" i="1">
                <a:solidFill>
                  <a:srgbClr val="000000"/>
                </a:solidFill>
              </a:rPr>
              <a:t>when considere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7B483C1-671D-D8A1-5038-B098997D4090}"/>
              </a:ext>
            </a:extLst>
          </p:cNvPr>
          <p:cNvSpPr/>
          <p:nvPr/>
        </p:nvSpPr>
        <p:spPr bwMode="gray">
          <a:xfrm>
            <a:off x="396981" y="2776430"/>
            <a:ext cx="1091663" cy="249036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FB70C41-70A9-8057-5AFD-B7289ACF71D4}"/>
              </a:ext>
            </a:extLst>
          </p:cNvPr>
          <p:cNvSpPr/>
          <p:nvPr/>
        </p:nvSpPr>
        <p:spPr bwMode="gray">
          <a:xfrm>
            <a:off x="6436801" y="2776430"/>
            <a:ext cx="1091663" cy="249036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7CA0A5E-EEC6-32DA-8B48-28E6B91BB873}"/>
              </a:ext>
            </a:extLst>
          </p:cNvPr>
          <p:cNvSpPr/>
          <p:nvPr/>
        </p:nvSpPr>
        <p:spPr bwMode="gray">
          <a:xfrm>
            <a:off x="8995852" y="1038330"/>
            <a:ext cx="137160" cy="137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%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0147FF5-30F6-C8B5-ADC2-BA7FFA35D91F}"/>
              </a:ext>
            </a:extLst>
          </p:cNvPr>
          <p:cNvSpPr/>
          <p:nvPr/>
        </p:nvSpPr>
        <p:spPr bwMode="gray">
          <a:xfrm>
            <a:off x="9433039" y="1038330"/>
            <a:ext cx="137160" cy="1371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-20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EF33A97-685A-4238-0AEE-E067EEB6D824}"/>
              </a:ext>
            </a:extLst>
          </p:cNvPr>
          <p:cNvSpPr/>
          <p:nvPr/>
        </p:nvSpPr>
        <p:spPr bwMode="gray">
          <a:xfrm>
            <a:off x="10033093" y="1038330"/>
            <a:ext cx="137160" cy="1371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20-40%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D579866-0D70-F8BC-B55E-08774C71D21C}"/>
              </a:ext>
            </a:extLst>
          </p:cNvPr>
          <p:cNvSpPr/>
          <p:nvPr/>
        </p:nvSpPr>
        <p:spPr bwMode="gray">
          <a:xfrm>
            <a:off x="10695676" y="1038330"/>
            <a:ext cx="137160" cy="1371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40-60%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DF12EFC7-A6CC-F0C8-A3C5-5B0D790D3694}"/>
              </a:ext>
            </a:extLst>
          </p:cNvPr>
          <p:cNvSpPr/>
          <p:nvPr/>
        </p:nvSpPr>
        <p:spPr bwMode="gray">
          <a:xfrm>
            <a:off x="11364310" y="1038330"/>
            <a:ext cx="137160" cy="13716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60%+</a:t>
            </a:r>
          </a:p>
        </p:txBody>
      </p:sp>
      <p:sp>
        <p:nvSpPr>
          <p:cNvPr id="111" name="btfpNotesBox537015">
            <a:extLst>
              <a:ext uri="{FF2B5EF4-FFF2-40B4-BE49-F238E27FC236}">
                <a16:creationId xmlns:a16="http://schemas.microsoft.com/office/drawing/2014/main" id="{D6EAEAFB-C46C-6E14-868B-E41AEE9B4C1F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871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</a:t>
            </a:r>
          </a:p>
        </p:txBody>
      </p:sp>
      <p:grpSp>
        <p:nvGrpSpPr>
          <p:cNvPr id="131" name="btfpColumnHeaderBox607419">
            <a:extLst>
              <a:ext uri="{FF2B5EF4-FFF2-40B4-BE49-F238E27FC236}">
                <a16:creationId xmlns:a16="http://schemas.microsoft.com/office/drawing/2014/main" id="{4C3F63F4-04E2-69A4-59CD-91ECF99A5B8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366272" y="1278189"/>
            <a:ext cx="5495528" cy="498792"/>
            <a:chOff x="6366272" y="1044664"/>
            <a:chExt cx="5495528" cy="498792"/>
          </a:xfrm>
        </p:grpSpPr>
        <p:sp>
          <p:nvSpPr>
            <p:cNvPr id="129" name="btfpColumnHeaderBoxText607419">
              <a:extLst>
                <a:ext uri="{FF2B5EF4-FFF2-40B4-BE49-F238E27FC236}">
                  <a16:creationId xmlns:a16="http://schemas.microsoft.com/office/drawing/2014/main" id="{A1AC98D2-84A5-5D86-B4FB-797BDFCA6E32}"/>
                </a:ext>
              </a:extLst>
            </p:cNvPr>
            <p:cNvSpPr txBox="1"/>
            <p:nvPr/>
          </p:nvSpPr>
          <p:spPr bwMode="gray">
            <a:xfrm>
              <a:off x="6366272" y="1044664"/>
              <a:ext cx="5495528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When considered, Target wins ~40% of the time in sweet spot, but less than Peer 1 and Peer 2(x)</a:t>
              </a:r>
            </a:p>
          </p:txBody>
        </p:sp>
        <p:cxnSp>
          <p:nvCxnSpPr>
            <p:cNvPr id="130" name="btfpColumnHeaderBoxLine607419">
              <a:extLst>
                <a:ext uri="{FF2B5EF4-FFF2-40B4-BE49-F238E27FC236}">
                  <a16:creationId xmlns:a16="http://schemas.microsoft.com/office/drawing/2014/main" id="{F6F35FA7-2946-5006-FBD8-E97555ADBF23}"/>
                </a:ext>
              </a:extLst>
            </p:cNvPr>
            <p:cNvCxnSpPr/>
            <p:nvPr/>
          </p:nvCxnSpPr>
          <p:spPr bwMode="gray">
            <a:xfrm>
              <a:off x="6366272" y="1543456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4" name="btfpColumnHeaderBox660867">
            <a:extLst>
              <a:ext uri="{FF2B5EF4-FFF2-40B4-BE49-F238E27FC236}">
                <a16:creationId xmlns:a16="http://schemas.microsoft.com/office/drawing/2014/main" id="{795E6976-0650-EB4A-B7D4-CFA17F7710A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278189"/>
            <a:ext cx="5495528" cy="498792"/>
            <a:chOff x="330200" y="1071322"/>
            <a:chExt cx="5495528" cy="498792"/>
          </a:xfrm>
        </p:grpSpPr>
        <p:sp>
          <p:nvSpPr>
            <p:cNvPr id="132" name="btfpColumnHeaderBoxText660867">
              <a:extLst>
                <a:ext uri="{FF2B5EF4-FFF2-40B4-BE49-F238E27FC236}">
                  <a16:creationId xmlns:a16="http://schemas.microsoft.com/office/drawing/2014/main" id="{C0F80C45-A21D-1789-08D5-D55D9575E866}"/>
                </a:ext>
              </a:extLst>
            </p:cNvPr>
            <p:cNvSpPr txBox="1"/>
            <p:nvPr/>
          </p:nvSpPr>
          <p:spPr bwMode="gray">
            <a:xfrm>
              <a:off x="330200" y="1071322"/>
              <a:ext cx="5495528" cy="4987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Target is only considered in 20-40% of purchasing processes; Peer 1 and Peer 2(x) are considered most often</a:t>
              </a:r>
            </a:p>
          </p:txBody>
        </p:sp>
        <p:cxnSp>
          <p:nvCxnSpPr>
            <p:cNvPr id="133" name="btfpColumnHeaderBoxLine660867">
              <a:extLst>
                <a:ext uri="{FF2B5EF4-FFF2-40B4-BE49-F238E27FC236}">
                  <a16:creationId xmlns:a16="http://schemas.microsoft.com/office/drawing/2014/main" id="{EB3BC9EC-E793-6C5E-E337-C5EC88786403}"/>
                </a:ext>
              </a:extLst>
            </p:cNvPr>
            <p:cNvCxnSpPr/>
            <p:nvPr/>
          </p:nvCxnSpPr>
          <p:spPr bwMode="gray">
            <a:xfrm>
              <a:off x="330200" y="1570114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btfpRunningAgenda2Level301519">
            <a:extLst>
              <a:ext uri="{FF2B5EF4-FFF2-40B4-BE49-F238E27FC236}">
                <a16:creationId xmlns:a16="http://schemas.microsoft.com/office/drawing/2014/main" id="{E3950137-0F6E-481F-71D9-8CC19B2FD1B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7234191" cy="257442"/>
            <a:chOff x="0" y="876300"/>
            <a:chExt cx="7234191" cy="257442"/>
          </a:xfrm>
        </p:grpSpPr>
        <p:sp>
          <p:nvSpPr>
            <p:cNvPr id="7" name="btfpRunningAgenda2LevelBarLeft301519">
              <a:extLst>
                <a:ext uri="{FF2B5EF4-FFF2-40B4-BE49-F238E27FC236}">
                  <a16:creationId xmlns:a16="http://schemas.microsoft.com/office/drawing/2014/main" id="{7FA83CF2-BDB6-5F8C-E078-4B5FAB5A017C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RunningAgenda2LevelTextLeft301519">
              <a:extLst>
                <a:ext uri="{FF2B5EF4-FFF2-40B4-BE49-F238E27FC236}">
                  <a16:creationId xmlns:a16="http://schemas.microsoft.com/office/drawing/2014/main" id="{32198E38-4B9F-B299-DFE7-74A3C09F4846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9" name="btfpRunningAgenda2LevelBarRight301519">
              <a:extLst>
                <a:ext uri="{FF2B5EF4-FFF2-40B4-BE49-F238E27FC236}">
                  <a16:creationId xmlns:a16="http://schemas.microsoft.com/office/drawing/2014/main" id="{080994D9-42E5-6BB8-1FCC-83604ABE2051}"/>
                </a:ext>
              </a:extLst>
            </p:cNvPr>
            <p:cNvSpPr/>
            <p:nvPr/>
          </p:nvSpPr>
          <p:spPr bwMode="gray">
            <a:xfrm>
              <a:off x="3903342" y="876300"/>
              <a:ext cx="3233284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42787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42787 w 942787"/>
                <a:gd name="connsiteY0" fmla="*/ 0 h 257442"/>
                <a:gd name="connsiteX1" fmla="*/ 888066 w 942787"/>
                <a:gd name="connsiteY1" fmla="*/ 257442 h 257442"/>
                <a:gd name="connsiteX2" fmla="*/ 0 w 942787"/>
                <a:gd name="connsiteY2" fmla="*/ 257442 h 257442"/>
                <a:gd name="connsiteX3" fmla="*/ 54722 w 942787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4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447733 w 1561326"/>
                <a:gd name="connsiteY0" fmla="*/ 0 h 257442"/>
                <a:gd name="connsiteX1" fmla="*/ 1561326 w 1561326"/>
                <a:gd name="connsiteY1" fmla="*/ 257442 h 257442"/>
                <a:gd name="connsiteX2" fmla="*/ 0 w 1561326"/>
                <a:gd name="connsiteY2" fmla="*/ 257442 h 257442"/>
                <a:gd name="connsiteX3" fmla="*/ 54722 w 1561326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1 w 1447731"/>
                <a:gd name="connsiteY0" fmla="*/ 0 h 257442"/>
                <a:gd name="connsiteX1" fmla="*/ 1393010 w 1447731"/>
                <a:gd name="connsiteY1" fmla="*/ 257442 h 257442"/>
                <a:gd name="connsiteX2" fmla="*/ 0 w 1447731"/>
                <a:gd name="connsiteY2" fmla="*/ 257442 h 257442"/>
                <a:gd name="connsiteX3" fmla="*/ 54720 w 1447731"/>
                <a:gd name="connsiteY3" fmla="*/ 0 h 257442"/>
                <a:gd name="connsiteX0" fmla="*/ 1447731 w 1447731"/>
                <a:gd name="connsiteY0" fmla="*/ 0 h 257442"/>
                <a:gd name="connsiteX1" fmla="*/ 1393010 w 1447731"/>
                <a:gd name="connsiteY1" fmla="*/ 257442 h 257442"/>
                <a:gd name="connsiteX2" fmla="*/ 0 w 1447731"/>
                <a:gd name="connsiteY2" fmla="*/ 257442 h 257442"/>
                <a:gd name="connsiteX3" fmla="*/ 54721 w 1447731"/>
                <a:gd name="connsiteY3" fmla="*/ 0 h 257442"/>
                <a:gd name="connsiteX0" fmla="*/ 1279416 w 1393010"/>
                <a:gd name="connsiteY0" fmla="*/ 0 h 257442"/>
                <a:gd name="connsiteX1" fmla="*/ 1393010 w 1393010"/>
                <a:gd name="connsiteY1" fmla="*/ 257442 h 257442"/>
                <a:gd name="connsiteX2" fmla="*/ 0 w 1393010"/>
                <a:gd name="connsiteY2" fmla="*/ 257442 h 257442"/>
                <a:gd name="connsiteX3" fmla="*/ 54721 w 1393010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447732 w 1447732"/>
                <a:gd name="connsiteY0" fmla="*/ 0 h 257442"/>
                <a:gd name="connsiteX1" fmla="*/ 1224695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616047 w 1616047"/>
                <a:gd name="connsiteY0" fmla="*/ 0 h 257442"/>
                <a:gd name="connsiteX1" fmla="*/ 1393011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784363 w 1784363"/>
                <a:gd name="connsiteY0" fmla="*/ 0 h 257442"/>
                <a:gd name="connsiteX1" fmla="*/ 1561326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784363 w 1784363"/>
                <a:gd name="connsiteY0" fmla="*/ 0 h 257442"/>
                <a:gd name="connsiteX1" fmla="*/ 1729642 w 1784363"/>
                <a:gd name="connsiteY1" fmla="*/ 257442 h 257442"/>
                <a:gd name="connsiteX2" fmla="*/ 0 w 1784363"/>
                <a:gd name="connsiteY2" fmla="*/ 257442 h 257442"/>
                <a:gd name="connsiteX3" fmla="*/ 54721 w 1784363"/>
                <a:gd name="connsiteY3" fmla="*/ 0 h 257442"/>
                <a:gd name="connsiteX0" fmla="*/ 1944663 w 1944663"/>
                <a:gd name="connsiteY0" fmla="*/ 0 h 257442"/>
                <a:gd name="connsiteX1" fmla="*/ 17296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1944663 w 1944663"/>
                <a:gd name="connsiteY0" fmla="*/ 0 h 257442"/>
                <a:gd name="connsiteX1" fmla="*/ 1889942 w 1944663"/>
                <a:gd name="connsiteY1" fmla="*/ 257442 h 257442"/>
                <a:gd name="connsiteX2" fmla="*/ 0 w 1944663"/>
                <a:gd name="connsiteY2" fmla="*/ 257442 h 257442"/>
                <a:gd name="connsiteX3" fmla="*/ 54721 w 1944663"/>
                <a:gd name="connsiteY3" fmla="*/ 0 h 257442"/>
                <a:gd name="connsiteX0" fmla="*/ 2213967 w 2213967"/>
                <a:gd name="connsiteY0" fmla="*/ 0 h 257442"/>
                <a:gd name="connsiteX1" fmla="*/ 1889942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213967 w 2213967"/>
                <a:gd name="connsiteY0" fmla="*/ 0 h 257442"/>
                <a:gd name="connsiteX1" fmla="*/ 2159246 w 2213967"/>
                <a:gd name="connsiteY1" fmla="*/ 257442 h 257442"/>
                <a:gd name="connsiteX2" fmla="*/ 0 w 2213967"/>
                <a:gd name="connsiteY2" fmla="*/ 257442 h 257442"/>
                <a:gd name="connsiteX3" fmla="*/ 54721 w 2213967"/>
                <a:gd name="connsiteY3" fmla="*/ 0 h 257442"/>
                <a:gd name="connsiteX0" fmla="*/ 2391900 w 2391900"/>
                <a:gd name="connsiteY0" fmla="*/ 0 h 257442"/>
                <a:gd name="connsiteX1" fmla="*/ 2159246 w 2391900"/>
                <a:gd name="connsiteY1" fmla="*/ 257442 h 257442"/>
                <a:gd name="connsiteX2" fmla="*/ 0 w 2391900"/>
                <a:gd name="connsiteY2" fmla="*/ 257442 h 257442"/>
                <a:gd name="connsiteX3" fmla="*/ 54721 w 2391900"/>
                <a:gd name="connsiteY3" fmla="*/ 0 h 257442"/>
                <a:gd name="connsiteX0" fmla="*/ 2391900 w 2391900"/>
                <a:gd name="connsiteY0" fmla="*/ 0 h 257442"/>
                <a:gd name="connsiteX1" fmla="*/ 2337178 w 2391900"/>
                <a:gd name="connsiteY1" fmla="*/ 257442 h 257442"/>
                <a:gd name="connsiteX2" fmla="*/ 0 w 2391900"/>
                <a:gd name="connsiteY2" fmla="*/ 257442 h 257442"/>
                <a:gd name="connsiteX3" fmla="*/ 54721 w 2391900"/>
                <a:gd name="connsiteY3" fmla="*/ 0 h 257442"/>
                <a:gd name="connsiteX0" fmla="*/ 2391901 w 2391901"/>
                <a:gd name="connsiteY0" fmla="*/ 0 h 257442"/>
                <a:gd name="connsiteX1" fmla="*/ 2337179 w 2391901"/>
                <a:gd name="connsiteY1" fmla="*/ 257442 h 257442"/>
                <a:gd name="connsiteX2" fmla="*/ 0 w 2391901"/>
                <a:gd name="connsiteY2" fmla="*/ 257442 h 257442"/>
                <a:gd name="connsiteX3" fmla="*/ 54722 w 2391901"/>
                <a:gd name="connsiteY3" fmla="*/ 0 h 257442"/>
                <a:gd name="connsiteX0" fmla="*/ 2391901 w 2391901"/>
                <a:gd name="connsiteY0" fmla="*/ 0 h 257442"/>
                <a:gd name="connsiteX1" fmla="*/ 2337179 w 2391901"/>
                <a:gd name="connsiteY1" fmla="*/ 257442 h 257442"/>
                <a:gd name="connsiteX2" fmla="*/ 0 w 2391901"/>
                <a:gd name="connsiteY2" fmla="*/ 257442 h 257442"/>
                <a:gd name="connsiteX3" fmla="*/ 54722 w 2391901"/>
                <a:gd name="connsiteY3" fmla="*/ 0 h 257442"/>
                <a:gd name="connsiteX0" fmla="*/ 2653191 w 2653191"/>
                <a:gd name="connsiteY0" fmla="*/ 0 h 257442"/>
                <a:gd name="connsiteX1" fmla="*/ 2337179 w 2653191"/>
                <a:gd name="connsiteY1" fmla="*/ 257442 h 257442"/>
                <a:gd name="connsiteX2" fmla="*/ 0 w 2653191"/>
                <a:gd name="connsiteY2" fmla="*/ 257442 h 257442"/>
                <a:gd name="connsiteX3" fmla="*/ 54722 w 2653191"/>
                <a:gd name="connsiteY3" fmla="*/ 0 h 257442"/>
                <a:gd name="connsiteX0" fmla="*/ 2653191 w 2653191"/>
                <a:gd name="connsiteY0" fmla="*/ 0 h 257442"/>
                <a:gd name="connsiteX1" fmla="*/ 2598470 w 2653191"/>
                <a:gd name="connsiteY1" fmla="*/ 257442 h 257442"/>
                <a:gd name="connsiteX2" fmla="*/ 0 w 2653191"/>
                <a:gd name="connsiteY2" fmla="*/ 257442 h 257442"/>
                <a:gd name="connsiteX3" fmla="*/ 54722 w 2653191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0 w 2653190"/>
                <a:gd name="connsiteY3" fmla="*/ 0 h 257442"/>
                <a:gd name="connsiteX0" fmla="*/ 2821504 w 2821504"/>
                <a:gd name="connsiteY0" fmla="*/ 0 h 257442"/>
                <a:gd name="connsiteX1" fmla="*/ 2598469 w 2821504"/>
                <a:gd name="connsiteY1" fmla="*/ 257442 h 257442"/>
                <a:gd name="connsiteX2" fmla="*/ 0 w 2821504"/>
                <a:gd name="connsiteY2" fmla="*/ 257442 h 257442"/>
                <a:gd name="connsiteX3" fmla="*/ 54720 w 2821504"/>
                <a:gd name="connsiteY3" fmla="*/ 0 h 257442"/>
                <a:gd name="connsiteX0" fmla="*/ 2821504 w 2821504"/>
                <a:gd name="connsiteY0" fmla="*/ 0 h 257442"/>
                <a:gd name="connsiteX1" fmla="*/ 2766783 w 2821504"/>
                <a:gd name="connsiteY1" fmla="*/ 257442 h 257442"/>
                <a:gd name="connsiteX2" fmla="*/ 0 w 2821504"/>
                <a:gd name="connsiteY2" fmla="*/ 257442 h 257442"/>
                <a:gd name="connsiteX3" fmla="*/ 54720 w 2821504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1 w 2821505"/>
                <a:gd name="connsiteY3" fmla="*/ 0 h 257442"/>
                <a:gd name="connsiteX0" fmla="*/ 2821505 w 2821505"/>
                <a:gd name="connsiteY0" fmla="*/ 0 h 257442"/>
                <a:gd name="connsiteX1" fmla="*/ 2766784 w 2821505"/>
                <a:gd name="connsiteY1" fmla="*/ 257442 h 257442"/>
                <a:gd name="connsiteX2" fmla="*/ 0 w 2821505"/>
                <a:gd name="connsiteY2" fmla="*/ 257442 h 257442"/>
                <a:gd name="connsiteX3" fmla="*/ 54722 w 2821505"/>
                <a:gd name="connsiteY3" fmla="*/ 0 h 257442"/>
                <a:gd name="connsiteX0" fmla="*/ 2999439 w 2999439"/>
                <a:gd name="connsiteY0" fmla="*/ 0 h 257442"/>
                <a:gd name="connsiteX1" fmla="*/ 2766784 w 2999439"/>
                <a:gd name="connsiteY1" fmla="*/ 257442 h 257442"/>
                <a:gd name="connsiteX2" fmla="*/ 0 w 2999439"/>
                <a:gd name="connsiteY2" fmla="*/ 257442 h 257442"/>
                <a:gd name="connsiteX3" fmla="*/ 54722 w 2999439"/>
                <a:gd name="connsiteY3" fmla="*/ 0 h 257442"/>
                <a:gd name="connsiteX0" fmla="*/ 2999439 w 2999439"/>
                <a:gd name="connsiteY0" fmla="*/ 0 h 257442"/>
                <a:gd name="connsiteX1" fmla="*/ 2944719 w 2999439"/>
                <a:gd name="connsiteY1" fmla="*/ 257442 h 257442"/>
                <a:gd name="connsiteX2" fmla="*/ 0 w 2999439"/>
                <a:gd name="connsiteY2" fmla="*/ 257442 h 257442"/>
                <a:gd name="connsiteX3" fmla="*/ 54722 w 2999439"/>
                <a:gd name="connsiteY3" fmla="*/ 0 h 257442"/>
                <a:gd name="connsiteX0" fmla="*/ 2999438 w 2999438"/>
                <a:gd name="connsiteY0" fmla="*/ 0 h 257442"/>
                <a:gd name="connsiteX1" fmla="*/ 2944718 w 2999438"/>
                <a:gd name="connsiteY1" fmla="*/ 257442 h 257442"/>
                <a:gd name="connsiteX2" fmla="*/ 0 w 2999438"/>
                <a:gd name="connsiteY2" fmla="*/ 257442 h 257442"/>
                <a:gd name="connsiteX3" fmla="*/ 54721 w 2999438"/>
                <a:gd name="connsiteY3" fmla="*/ 0 h 257442"/>
                <a:gd name="connsiteX0" fmla="*/ 2999438 w 2999438"/>
                <a:gd name="connsiteY0" fmla="*/ 0 h 257442"/>
                <a:gd name="connsiteX1" fmla="*/ 2944718 w 2999438"/>
                <a:gd name="connsiteY1" fmla="*/ 257442 h 257442"/>
                <a:gd name="connsiteX2" fmla="*/ 0 w 2999438"/>
                <a:gd name="connsiteY2" fmla="*/ 257442 h 257442"/>
                <a:gd name="connsiteX3" fmla="*/ 54720 w 2999438"/>
                <a:gd name="connsiteY3" fmla="*/ 0 h 257442"/>
                <a:gd name="connsiteX0" fmla="*/ 3167753 w 3167753"/>
                <a:gd name="connsiteY0" fmla="*/ 0 h 257442"/>
                <a:gd name="connsiteX1" fmla="*/ 2944718 w 3167753"/>
                <a:gd name="connsiteY1" fmla="*/ 257442 h 257442"/>
                <a:gd name="connsiteX2" fmla="*/ 0 w 3167753"/>
                <a:gd name="connsiteY2" fmla="*/ 257442 h 257442"/>
                <a:gd name="connsiteX3" fmla="*/ 54720 w 3167753"/>
                <a:gd name="connsiteY3" fmla="*/ 0 h 257442"/>
                <a:gd name="connsiteX0" fmla="*/ 3167753 w 3167753"/>
                <a:gd name="connsiteY0" fmla="*/ 0 h 257442"/>
                <a:gd name="connsiteX1" fmla="*/ 3113032 w 3167753"/>
                <a:gd name="connsiteY1" fmla="*/ 257442 h 257442"/>
                <a:gd name="connsiteX2" fmla="*/ 0 w 3167753"/>
                <a:gd name="connsiteY2" fmla="*/ 257442 h 257442"/>
                <a:gd name="connsiteX3" fmla="*/ 54720 w 3167753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328054 w 3328054"/>
                <a:gd name="connsiteY0" fmla="*/ 0 h 257442"/>
                <a:gd name="connsiteX1" fmla="*/ 31130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328054 w 3328054"/>
                <a:gd name="connsiteY0" fmla="*/ 0 h 257442"/>
                <a:gd name="connsiteX1" fmla="*/ 3273333 w 3328054"/>
                <a:gd name="connsiteY1" fmla="*/ 257442 h 257442"/>
                <a:gd name="connsiteX2" fmla="*/ 0 w 3328054"/>
                <a:gd name="connsiteY2" fmla="*/ 257442 h 257442"/>
                <a:gd name="connsiteX3" fmla="*/ 54721 w 3328054"/>
                <a:gd name="connsiteY3" fmla="*/ 0 h 257442"/>
                <a:gd name="connsiteX0" fmla="*/ 3488354 w 3488354"/>
                <a:gd name="connsiteY0" fmla="*/ 0 h 257442"/>
                <a:gd name="connsiteX1" fmla="*/ 32733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488354 w 3488354"/>
                <a:gd name="connsiteY0" fmla="*/ 0 h 257442"/>
                <a:gd name="connsiteX1" fmla="*/ 3433633 w 3488354"/>
                <a:gd name="connsiteY1" fmla="*/ 257442 h 257442"/>
                <a:gd name="connsiteX2" fmla="*/ 0 w 3488354"/>
                <a:gd name="connsiteY2" fmla="*/ 257442 h 257442"/>
                <a:gd name="connsiteX3" fmla="*/ 54721 w 3488354"/>
                <a:gd name="connsiteY3" fmla="*/ 0 h 257442"/>
                <a:gd name="connsiteX0" fmla="*/ 3648654 w 3648654"/>
                <a:gd name="connsiteY0" fmla="*/ 0 h 257442"/>
                <a:gd name="connsiteX1" fmla="*/ 3433633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3648654 w 3648654"/>
                <a:gd name="connsiteY0" fmla="*/ 0 h 257442"/>
                <a:gd name="connsiteX1" fmla="*/ 3593934 w 3648654"/>
                <a:gd name="connsiteY1" fmla="*/ 257442 h 257442"/>
                <a:gd name="connsiteX2" fmla="*/ 0 w 3648654"/>
                <a:gd name="connsiteY2" fmla="*/ 257442 h 257442"/>
                <a:gd name="connsiteX3" fmla="*/ 54721 w 3648654"/>
                <a:gd name="connsiteY3" fmla="*/ 0 h 257442"/>
                <a:gd name="connsiteX0" fmla="*/ 950801 w 3593934"/>
                <a:gd name="connsiteY0" fmla="*/ 0 h 257442"/>
                <a:gd name="connsiteX1" fmla="*/ 3593934 w 3593934"/>
                <a:gd name="connsiteY1" fmla="*/ 257442 h 257442"/>
                <a:gd name="connsiteX2" fmla="*/ 0 w 3593934"/>
                <a:gd name="connsiteY2" fmla="*/ 257442 h 257442"/>
                <a:gd name="connsiteX3" fmla="*/ 54721 w 3593934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950801 w 1064395"/>
                <a:gd name="connsiteY0" fmla="*/ 0 h 257442"/>
                <a:gd name="connsiteX1" fmla="*/ 1064395 w 1064395"/>
                <a:gd name="connsiteY1" fmla="*/ 257442 h 257442"/>
                <a:gd name="connsiteX2" fmla="*/ 0 w 1064395"/>
                <a:gd name="connsiteY2" fmla="*/ 257442 h 257442"/>
                <a:gd name="connsiteX3" fmla="*/ 54721 w 106439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28733 w 1128733"/>
                <a:gd name="connsiteY0" fmla="*/ 0 h 257442"/>
                <a:gd name="connsiteX1" fmla="*/ 896080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0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297050 w 1297050"/>
                <a:gd name="connsiteY0" fmla="*/ 0 h 257442"/>
                <a:gd name="connsiteX1" fmla="*/ 1074013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457350 w 1457350"/>
                <a:gd name="connsiteY0" fmla="*/ 0 h 257442"/>
                <a:gd name="connsiteX1" fmla="*/ 12423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457350 w 1457350"/>
                <a:gd name="connsiteY0" fmla="*/ 0 h 257442"/>
                <a:gd name="connsiteX1" fmla="*/ 1402629 w 1457350"/>
                <a:gd name="connsiteY1" fmla="*/ 257442 h 257442"/>
                <a:gd name="connsiteX2" fmla="*/ 0 w 1457350"/>
                <a:gd name="connsiteY2" fmla="*/ 257442 h 257442"/>
                <a:gd name="connsiteX3" fmla="*/ 54721 w 1457350"/>
                <a:gd name="connsiteY3" fmla="*/ 0 h 257442"/>
                <a:gd name="connsiteX0" fmla="*/ 1726655 w 1726655"/>
                <a:gd name="connsiteY0" fmla="*/ 0 h 257442"/>
                <a:gd name="connsiteX1" fmla="*/ 1402629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726655 w 1726655"/>
                <a:gd name="connsiteY0" fmla="*/ 0 h 257442"/>
                <a:gd name="connsiteX1" fmla="*/ 1671934 w 1726655"/>
                <a:gd name="connsiteY1" fmla="*/ 257442 h 257442"/>
                <a:gd name="connsiteX2" fmla="*/ 0 w 1726655"/>
                <a:gd name="connsiteY2" fmla="*/ 257442 h 257442"/>
                <a:gd name="connsiteX3" fmla="*/ 54721 w 1726655"/>
                <a:gd name="connsiteY3" fmla="*/ 0 h 257442"/>
                <a:gd name="connsiteX0" fmla="*/ 1886955 w 1886955"/>
                <a:gd name="connsiteY0" fmla="*/ 0 h 257442"/>
                <a:gd name="connsiteX1" fmla="*/ 16719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55270 w 2055270"/>
                <a:gd name="connsiteY0" fmla="*/ 0 h 257442"/>
                <a:gd name="connsiteX1" fmla="*/ 1832234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0 w 2055270"/>
                <a:gd name="connsiteY0" fmla="*/ 0 h 257442"/>
                <a:gd name="connsiteX1" fmla="*/ 2000548 w 2055270"/>
                <a:gd name="connsiteY1" fmla="*/ 257442 h 257442"/>
                <a:gd name="connsiteX2" fmla="*/ 0 w 2055270"/>
                <a:gd name="connsiteY2" fmla="*/ 257442 h 257442"/>
                <a:gd name="connsiteX3" fmla="*/ 54721 w 2055270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055271 w 2055271"/>
                <a:gd name="connsiteY0" fmla="*/ 0 h 257442"/>
                <a:gd name="connsiteX1" fmla="*/ 2000549 w 2055271"/>
                <a:gd name="connsiteY1" fmla="*/ 257442 h 257442"/>
                <a:gd name="connsiteX2" fmla="*/ 0 w 2055271"/>
                <a:gd name="connsiteY2" fmla="*/ 257442 h 257442"/>
                <a:gd name="connsiteX3" fmla="*/ 54722 w 2055271"/>
                <a:gd name="connsiteY3" fmla="*/ 0 h 257442"/>
                <a:gd name="connsiteX0" fmla="*/ 2223586 w 2223586"/>
                <a:gd name="connsiteY0" fmla="*/ 0 h 257442"/>
                <a:gd name="connsiteX1" fmla="*/ 2000549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2 w 2223586"/>
                <a:gd name="connsiteY3" fmla="*/ 0 h 257442"/>
                <a:gd name="connsiteX0" fmla="*/ 2223586 w 2223586"/>
                <a:gd name="connsiteY0" fmla="*/ 0 h 257442"/>
                <a:gd name="connsiteX1" fmla="*/ 2168864 w 2223586"/>
                <a:gd name="connsiteY1" fmla="*/ 257442 h 257442"/>
                <a:gd name="connsiteX2" fmla="*/ 0 w 2223586"/>
                <a:gd name="connsiteY2" fmla="*/ 257442 h 257442"/>
                <a:gd name="connsiteX3" fmla="*/ 54721 w 2223586"/>
                <a:gd name="connsiteY3" fmla="*/ 0 h 257442"/>
                <a:gd name="connsiteX0" fmla="*/ 2539633 w 2539633"/>
                <a:gd name="connsiteY0" fmla="*/ 0 h 257442"/>
                <a:gd name="connsiteX1" fmla="*/ 2168864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808937 w 2808937"/>
                <a:gd name="connsiteY0" fmla="*/ 0 h 257442"/>
                <a:gd name="connsiteX1" fmla="*/ 2484912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2808937 w 2808937"/>
                <a:gd name="connsiteY0" fmla="*/ 0 h 257442"/>
                <a:gd name="connsiteX1" fmla="*/ 2754217 w 2808937"/>
                <a:gd name="connsiteY1" fmla="*/ 257442 h 257442"/>
                <a:gd name="connsiteX2" fmla="*/ 0 w 2808937"/>
                <a:gd name="connsiteY2" fmla="*/ 257442 h 257442"/>
                <a:gd name="connsiteX3" fmla="*/ 54721 w 2808937"/>
                <a:gd name="connsiteY3" fmla="*/ 0 h 257442"/>
                <a:gd name="connsiteX0" fmla="*/ 3070228 w 3070228"/>
                <a:gd name="connsiteY0" fmla="*/ 0 h 257442"/>
                <a:gd name="connsiteX1" fmla="*/ 2754217 w 3070228"/>
                <a:gd name="connsiteY1" fmla="*/ 257442 h 257442"/>
                <a:gd name="connsiteX2" fmla="*/ 0 w 3070228"/>
                <a:gd name="connsiteY2" fmla="*/ 257442 h 257442"/>
                <a:gd name="connsiteX3" fmla="*/ 54721 w 3070228"/>
                <a:gd name="connsiteY3" fmla="*/ 0 h 257442"/>
                <a:gd name="connsiteX0" fmla="*/ 3070228 w 3070228"/>
                <a:gd name="connsiteY0" fmla="*/ 0 h 257442"/>
                <a:gd name="connsiteX1" fmla="*/ 3015506 w 3070228"/>
                <a:gd name="connsiteY1" fmla="*/ 257442 h 257442"/>
                <a:gd name="connsiteX2" fmla="*/ 0 w 3070228"/>
                <a:gd name="connsiteY2" fmla="*/ 257442 h 257442"/>
                <a:gd name="connsiteX3" fmla="*/ 54721 w 3070228"/>
                <a:gd name="connsiteY3" fmla="*/ 0 h 257442"/>
                <a:gd name="connsiteX0" fmla="*/ 3070229 w 3070229"/>
                <a:gd name="connsiteY0" fmla="*/ 0 h 257442"/>
                <a:gd name="connsiteX1" fmla="*/ 3015507 w 3070229"/>
                <a:gd name="connsiteY1" fmla="*/ 257442 h 257442"/>
                <a:gd name="connsiteX2" fmla="*/ 0 w 3070229"/>
                <a:gd name="connsiteY2" fmla="*/ 257442 h 257442"/>
                <a:gd name="connsiteX3" fmla="*/ 54722 w 3070229"/>
                <a:gd name="connsiteY3" fmla="*/ 0 h 257442"/>
                <a:gd name="connsiteX0" fmla="*/ 3070229 w 3070229"/>
                <a:gd name="connsiteY0" fmla="*/ 0 h 257442"/>
                <a:gd name="connsiteX1" fmla="*/ 3015507 w 3070229"/>
                <a:gd name="connsiteY1" fmla="*/ 257442 h 257442"/>
                <a:gd name="connsiteX2" fmla="*/ 0 w 3070229"/>
                <a:gd name="connsiteY2" fmla="*/ 257442 h 257442"/>
                <a:gd name="connsiteX3" fmla="*/ 54722 w 3070229"/>
                <a:gd name="connsiteY3" fmla="*/ 0 h 257442"/>
                <a:gd name="connsiteX0" fmla="*/ 3230529 w 3230529"/>
                <a:gd name="connsiteY0" fmla="*/ 0 h 257442"/>
                <a:gd name="connsiteX1" fmla="*/ 3015507 w 3230529"/>
                <a:gd name="connsiteY1" fmla="*/ 257442 h 257442"/>
                <a:gd name="connsiteX2" fmla="*/ 0 w 3230529"/>
                <a:gd name="connsiteY2" fmla="*/ 257442 h 257442"/>
                <a:gd name="connsiteX3" fmla="*/ 54722 w 3230529"/>
                <a:gd name="connsiteY3" fmla="*/ 0 h 257442"/>
                <a:gd name="connsiteX0" fmla="*/ 3230529 w 3230529"/>
                <a:gd name="connsiteY0" fmla="*/ 0 h 257442"/>
                <a:gd name="connsiteX1" fmla="*/ 3175808 w 3230529"/>
                <a:gd name="connsiteY1" fmla="*/ 257442 h 257442"/>
                <a:gd name="connsiteX2" fmla="*/ 0 w 3230529"/>
                <a:gd name="connsiteY2" fmla="*/ 257442 h 257442"/>
                <a:gd name="connsiteX3" fmla="*/ 54722 w 3230529"/>
                <a:gd name="connsiteY3" fmla="*/ 0 h 257442"/>
                <a:gd name="connsiteX0" fmla="*/ 3230528 w 3230528"/>
                <a:gd name="connsiteY0" fmla="*/ 0 h 257442"/>
                <a:gd name="connsiteX1" fmla="*/ 3175807 w 3230528"/>
                <a:gd name="connsiteY1" fmla="*/ 257442 h 257442"/>
                <a:gd name="connsiteX2" fmla="*/ 0 w 3230528"/>
                <a:gd name="connsiteY2" fmla="*/ 257442 h 257442"/>
                <a:gd name="connsiteX3" fmla="*/ 54721 w 3230528"/>
                <a:gd name="connsiteY3" fmla="*/ 0 h 257442"/>
                <a:gd name="connsiteX0" fmla="*/ 3230528 w 3230528"/>
                <a:gd name="connsiteY0" fmla="*/ 0 h 257442"/>
                <a:gd name="connsiteX1" fmla="*/ 3175807 w 3230528"/>
                <a:gd name="connsiteY1" fmla="*/ 257442 h 257442"/>
                <a:gd name="connsiteX2" fmla="*/ 0 w 3230528"/>
                <a:gd name="connsiteY2" fmla="*/ 257442 h 257442"/>
                <a:gd name="connsiteX3" fmla="*/ 54720 w 3230528"/>
                <a:gd name="connsiteY3" fmla="*/ 0 h 257442"/>
                <a:gd name="connsiteX0" fmla="*/ 3070227 w 3175807"/>
                <a:gd name="connsiteY0" fmla="*/ 0 h 257442"/>
                <a:gd name="connsiteX1" fmla="*/ 3175807 w 3175807"/>
                <a:gd name="connsiteY1" fmla="*/ 257442 h 257442"/>
                <a:gd name="connsiteX2" fmla="*/ 0 w 3175807"/>
                <a:gd name="connsiteY2" fmla="*/ 257442 h 257442"/>
                <a:gd name="connsiteX3" fmla="*/ 54720 w 317580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0 w 307022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0 w 3070227"/>
                <a:gd name="connsiteY3" fmla="*/ 0 h 257442"/>
                <a:gd name="connsiteX0" fmla="*/ 3070227 w 3070227"/>
                <a:gd name="connsiteY0" fmla="*/ 0 h 257442"/>
                <a:gd name="connsiteX1" fmla="*/ 3015507 w 3070227"/>
                <a:gd name="connsiteY1" fmla="*/ 257442 h 257442"/>
                <a:gd name="connsiteX2" fmla="*/ 0 w 3070227"/>
                <a:gd name="connsiteY2" fmla="*/ 257442 h 257442"/>
                <a:gd name="connsiteX3" fmla="*/ 54721 w 3070227"/>
                <a:gd name="connsiteY3" fmla="*/ 0 h 257442"/>
                <a:gd name="connsiteX0" fmla="*/ 2909927 w 3015507"/>
                <a:gd name="connsiteY0" fmla="*/ 0 h 257442"/>
                <a:gd name="connsiteX1" fmla="*/ 3015507 w 3015507"/>
                <a:gd name="connsiteY1" fmla="*/ 257442 h 257442"/>
                <a:gd name="connsiteX2" fmla="*/ 0 w 3015507"/>
                <a:gd name="connsiteY2" fmla="*/ 257442 h 257442"/>
                <a:gd name="connsiteX3" fmla="*/ 54721 w 301550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909927 w 2909927"/>
                <a:gd name="connsiteY0" fmla="*/ 0 h 257442"/>
                <a:gd name="connsiteX1" fmla="*/ 2855206 w 2909927"/>
                <a:gd name="connsiteY1" fmla="*/ 257442 h 257442"/>
                <a:gd name="connsiteX2" fmla="*/ 0 w 2909927"/>
                <a:gd name="connsiteY2" fmla="*/ 257442 h 257442"/>
                <a:gd name="connsiteX3" fmla="*/ 54721 w 2909927"/>
                <a:gd name="connsiteY3" fmla="*/ 0 h 257442"/>
                <a:gd name="connsiteX0" fmla="*/ 2640623 w 2855206"/>
                <a:gd name="connsiteY0" fmla="*/ 0 h 257442"/>
                <a:gd name="connsiteX1" fmla="*/ 2855206 w 2855206"/>
                <a:gd name="connsiteY1" fmla="*/ 257442 h 257442"/>
                <a:gd name="connsiteX2" fmla="*/ 0 w 2855206"/>
                <a:gd name="connsiteY2" fmla="*/ 257442 h 257442"/>
                <a:gd name="connsiteX3" fmla="*/ 54721 w 2855206"/>
                <a:gd name="connsiteY3" fmla="*/ 0 h 257442"/>
                <a:gd name="connsiteX0" fmla="*/ 2640623 w 2640623"/>
                <a:gd name="connsiteY0" fmla="*/ 0 h 257442"/>
                <a:gd name="connsiteX1" fmla="*/ 2585902 w 2640623"/>
                <a:gd name="connsiteY1" fmla="*/ 257442 h 257442"/>
                <a:gd name="connsiteX2" fmla="*/ 0 w 2640623"/>
                <a:gd name="connsiteY2" fmla="*/ 257442 h 257442"/>
                <a:gd name="connsiteX3" fmla="*/ 54721 w 2640623"/>
                <a:gd name="connsiteY3" fmla="*/ 0 h 257442"/>
                <a:gd name="connsiteX0" fmla="*/ 2640622 w 2640622"/>
                <a:gd name="connsiteY0" fmla="*/ 0 h 257442"/>
                <a:gd name="connsiteX1" fmla="*/ 2585901 w 2640622"/>
                <a:gd name="connsiteY1" fmla="*/ 257442 h 257442"/>
                <a:gd name="connsiteX2" fmla="*/ 0 w 2640622"/>
                <a:gd name="connsiteY2" fmla="*/ 257442 h 257442"/>
                <a:gd name="connsiteX3" fmla="*/ 54720 w 2640622"/>
                <a:gd name="connsiteY3" fmla="*/ 0 h 257442"/>
                <a:gd name="connsiteX0" fmla="*/ 2640622 w 2640622"/>
                <a:gd name="connsiteY0" fmla="*/ 0 h 257442"/>
                <a:gd name="connsiteX1" fmla="*/ 2585901 w 2640622"/>
                <a:gd name="connsiteY1" fmla="*/ 257442 h 257442"/>
                <a:gd name="connsiteX2" fmla="*/ 0 w 2640622"/>
                <a:gd name="connsiteY2" fmla="*/ 257442 h 257442"/>
                <a:gd name="connsiteX3" fmla="*/ 54720 w 2640622"/>
                <a:gd name="connsiteY3" fmla="*/ 0 h 257442"/>
                <a:gd name="connsiteX0" fmla="*/ 2539632 w 2585901"/>
                <a:gd name="connsiteY0" fmla="*/ 0 h 257442"/>
                <a:gd name="connsiteX1" fmla="*/ 2585901 w 2585901"/>
                <a:gd name="connsiteY1" fmla="*/ 257442 h 257442"/>
                <a:gd name="connsiteX2" fmla="*/ 0 w 2585901"/>
                <a:gd name="connsiteY2" fmla="*/ 257442 h 257442"/>
                <a:gd name="connsiteX3" fmla="*/ 54720 w 2585901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2 w 2539632"/>
                <a:gd name="connsiteY1" fmla="*/ 257442 h 257442"/>
                <a:gd name="connsiteX2" fmla="*/ 0 w 2539632"/>
                <a:gd name="connsiteY2" fmla="*/ 257442 h 257442"/>
                <a:gd name="connsiteX3" fmla="*/ 54721 w 2539632"/>
                <a:gd name="connsiteY3" fmla="*/ 0 h 257442"/>
                <a:gd name="connsiteX0" fmla="*/ 2364457 w 2484912"/>
                <a:gd name="connsiteY0" fmla="*/ 0 h 257442"/>
                <a:gd name="connsiteX1" fmla="*/ 2484912 w 2484912"/>
                <a:gd name="connsiteY1" fmla="*/ 257442 h 257442"/>
                <a:gd name="connsiteX2" fmla="*/ 0 w 2484912"/>
                <a:gd name="connsiteY2" fmla="*/ 257442 h 257442"/>
                <a:gd name="connsiteX3" fmla="*/ 54721 w 2484912"/>
                <a:gd name="connsiteY3" fmla="*/ 0 h 257442"/>
                <a:gd name="connsiteX0" fmla="*/ 2364457 w 2364457"/>
                <a:gd name="connsiteY0" fmla="*/ 0 h 257442"/>
                <a:gd name="connsiteX1" fmla="*/ 2309736 w 2364457"/>
                <a:gd name="connsiteY1" fmla="*/ 257442 h 257442"/>
                <a:gd name="connsiteX2" fmla="*/ 0 w 2364457"/>
                <a:gd name="connsiteY2" fmla="*/ 257442 h 257442"/>
                <a:gd name="connsiteX3" fmla="*/ 54721 w 2364457"/>
                <a:gd name="connsiteY3" fmla="*/ 0 h 257442"/>
                <a:gd name="connsiteX0" fmla="*/ 2364456 w 2364456"/>
                <a:gd name="connsiteY0" fmla="*/ 0 h 257442"/>
                <a:gd name="connsiteX1" fmla="*/ 2309735 w 2364456"/>
                <a:gd name="connsiteY1" fmla="*/ 257442 h 257442"/>
                <a:gd name="connsiteX2" fmla="*/ 0 w 2364456"/>
                <a:gd name="connsiteY2" fmla="*/ 257442 h 257442"/>
                <a:gd name="connsiteX3" fmla="*/ 54720 w 2364456"/>
                <a:gd name="connsiteY3" fmla="*/ 0 h 257442"/>
                <a:gd name="connsiteX0" fmla="*/ 2364456 w 2364456"/>
                <a:gd name="connsiteY0" fmla="*/ 0 h 257442"/>
                <a:gd name="connsiteX1" fmla="*/ 2309735 w 2364456"/>
                <a:gd name="connsiteY1" fmla="*/ 257442 h 257442"/>
                <a:gd name="connsiteX2" fmla="*/ 0 w 2364456"/>
                <a:gd name="connsiteY2" fmla="*/ 257442 h 257442"/>
                <a:gd name="connsiteX3" fmla="*/ 54720 w 2364456"/>
                <a:gd name="connsiteY3" fmla="*/ 0 h 257442"/>
                <a:gd name="connsiteX0" fmla="*/ 2643378 w 2643378"/>
                <a:gd name="connsiteY0" fmla="*/ 0 h 257442"/>
                <a:gd name="connsiteX1" fmla="*/ 2309735 w 2643378"/>
                <a:gd name="connsiteY1" fmla="*/ 257442 h 257442"/>
                <a:gd name="connsiteX2" fmla="*/ 0 w 2643378"/>
                <a:gd name="connsiteY2" fmla="*/ 257442 h 257442"/>
                <a:gd name="connsiteX3" fmla="*/ 54720 w 2643378"/>
                <a:gd name="connsiteY3" fmla="*/ 0 h 257442"/>
                <a:gd name="connsiteX0" fmla="*/ 2643378 w 2643378"/>
                <a:gd name="connsiteY0" fmla="*/ 0 h 257442"/>
                <a:gd name="connsiteX1" fmla="*/ 2588657 w 2643378"/>
                <a:gd name="connsiteY1" fmla="*/ 257442 h 257442"/>
                <a:gd name="connsiteX2" fmla="*/ 0 w 2643378"/>
                <a:gd name="connsiteY2" fmla="*/ 257442 h 257442"/>
                <a:gd name="connsiteX3" fmla="*/ 54720 w 2643378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1 w 2643379"/>
                <a:gd name="connsiteY3" fmla="*/ 0 h 257442"/>
                <a:gd name="connsiteX0" fmla="*/ 2643379 w 2643379"/>
                <a:gd name="connsiteY0" fmla="*/ 0 h 257442"/>
                <a:gd name="connsiteX1" fmla="*/ 2588658 w 2643379"/>
                <a:gd name="connsiteY1" fmla="*/ 257442 h 257442"/>
                <a:gd name="connsiteX2" fmla="*/ 0 w 2643379"/>
                <a:gd name="connsiteY2" fmla="*/ 257442 h 257442"/>
                <a:gd name="connsiteX3" fmla="*/ 54722 w 2643379"/>
                <a:gd name="connsiteY3" fmla="*/ 0 h 257442"/>
                <a:gd name="connsiteX0" fmla="*/ 2811696 w 2811696"/>
                <a:gd name="connsiteY0" fmla="*/ 0 h 257442"/>
                <a:gd name="connsiteX1" fmla="*/ 2588658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2 w 2811696"/>
                <a:gd name="connsiteY3" fmla="*/ 0 h 257442"/>
                <a:gd name="connsiteX0" fmla="*/ 2811696 w 2811696"/>
                <a:gd name="connsiteY0" fmla="*/ 0 h 257442"/>
                <a:gd name="connsiteX1" fmla="*/ 2756974 w 2811696"/>
                <a:gd name="connsiteY1" fmla="*/ 257442 h 257442"/>
                <a:gd name="connsiteX2" fmla="*/ 0 w 2811696"/>
                <a:gd name="connsiteY2" fmla="*/ 257442 h 257442"/>
                <a:gd name="connsiteX3" fmla="*/ 54721 w 2811696"/>
                <a:gd name="connsiteY3" fmla="*/ 0 h 257442"/>
                <a:gd name="connsiteX0" fmla="*/ 3072984 w 3072984"/>
                <a:gd name="connsiteY0" fmla="*/ 0 h 257442"/>
                <a:gd name="connsiteX1" fmla="*/ 2756974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072984 w 3072984"/>
                <a:gd name="connsiteY0" fmla="*/ 0 h 257442"/>
                <a:gd name="connsiteX1" fmla="*/ 3018263 w 3072984"/>
                <a:gd name="connsiteY1" fmla="*/ 257442 h 257442"/>
                <a:gd name="connsiteX2" fmla="*/ 0 w 3072984"/>
                <a:gd name="connsiteY2" fmla="*/ 257442 h 257442"/>
                <a:gd name="connsiteX3" fmla="*/ 54721 w 3072984"/>
                <a:gd name="connsiteY3" fmla="*/ 0 h 257442"/>
                <a:gd name="connsiteX0" fmla="*/ 3233284 w 3233284"/>
                <a:gd name="connsiteY0" fmla="*/ 0 h 257442"/>
                <a:gd name="connsiteX1" fmla="*/ 30182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  <a:gd name="connsiteX0" fmla="*/ 3233284 w 3233284"/>
                <a:gd name="connsiteY0" fmla="*/ 0 h 257442"/>
                <a:gd name="connsiteX1" fmla="*/ 3178563 w 3233284"/>
                <a:gd name="connsiteY1" fmla="*/ 257442 h 257442"/>
                <a:gd name="connsiteX2" fmla="*/ 0 w 3233284"/>
                <a:gd name="connsiteY2" fmla="*/ 257442 h 257442"/>
                <a:gd name="connsiteX3" fmla="*/ 54721 w 323328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3284" h="257442">
                  <a:moveTo>
                    <a:pt x="3233284" y="0"/>
                  </a:moveTo>
                  <a:lnTo>
                    <a:pt x="3178563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RunningAgenda2LevelTextRight301519">
              <a:extLst>
                <a:ext uri="{FF2B5EF4-FFF2-40B4-BE49-F238E27FC236}">
                  <a16:creationId xmlns:a16="http://schemas.microsoft.com/office/drawing/2014/main" id="{98BF1F0D-7BB4-391B-AB1C-AD84CCB33D46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333084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nsideration se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29643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04E387D9-7662-CD5E-B5AF-3083A0E0D8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464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E387D9-7662-CD5E-B5AF-3083A0E0D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E7AB22CF-D955-AC0B-37B1-9D4B465F9E1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8" name="btfpColumnGapBlocker356009">
              <a:extLst>
                <a:ext uri="{FF2B5EF4-FFF2-40B4-BE49-F238E27FC236}">
                  <a16:creationId xmlns:a16="http://schemas.microsoft.com/office/drawing/2014/main" id="{B2B638DD-0ACC-C11D-7B00-F1F4DE41796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6" name="btfpColumnGapBlocker822804">
              <a:extLst>
                <a:ext uri="{FF2B5EF4-FFF2-40B4-BE49-F238E27FC236}">
                  <a16:creationId xmlns:a16="http://schemas.microsoft.com/office/drawing/2014/main" id="{69555263-74C2-22E6-2D52-9F8EDE80BD3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4" name="btfpColumnIndicator844666">
              <a:extLst>
                <a:ext uri="{FF2B5EF4-FFF2-40B4-BE49-F238E27FC236}">
                  <a16:creationId xmlns:a16="http://schemas.microsoft.com/office/drawing/2014/main" id="{89A9A50B-6E9A-2A2A-468D-44FA9BD3523A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265699">
              <a:extLst>
                <a:ext uri="{FF2B5EF4-FFF2-40B4-BE49-F238E27FC236}">
                  <a16:creationId xmlns:a16="http://schemas.microsoft.com/office/drawing/2014/main" id="{AF084628-5549-933A-01AD-77B199E0C21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E225AF71-1883-14E6-81AF-35504112433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7" name="btfpColumnGapBlocker603105">
              <a:extLst>
                <a:ext uri="{FF2B5EF4-FFF2-40B4-BE49-F238E27FC236}">
                  <a16:creationId xmlns:a16="http://schemas.microsoft.com/office/drawing/2014/main" id="{398AF29E-F0BF-29AC-8DDD-8B5D4EF18DC6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492136">
              <a:extLst>
                <a:ext uri="{FF2B5EF4-FFF2-40B4-BE49-F238E27FC236}">
                  <a16:creationId xmlns:a16="http://schemas.microsoft.com/office/drawing/2014/main" id="{180A7F21-001F-9108-A5C2-1439EE34F62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btfpColumnIndicator706399">
              <a:extLst>
                <a:ext uri="{FF2B5EF4-FFF2-40B4-BE49-F238E27FC236}">
                  <a16:creationId xmlns:a16="http://schemas.microsoft.com/office/drawing/2014/main" id="{4EC22F38-D3BA-2EA9-0AC7-FA0728F0CBD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btfpColumnIndicator722678">
              <a:extLst>
                <a:ext uri="{FF2B5EF4-FFF2-40B4-BE49-F238E27FC236}">
                  <a16:creationId xmlns:a16="http://schemas.microsoft.com/office/drawing/2014/main" id="{60CC5FA1-6948-CDF0-2171-F57EBDC351A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BAD270D-EC00-482E-ADE1-C09E16753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/>
              <a:t>Target right to win </a:t>
            </a:r>
            <a:r>
              <a:rPr lang="en-US" sz="2000" dirty="0"/>
              <a:t>| Target has stronger right to win with non-Enterprise customers that either 1) prioritize ease of use, or 2) don’t use non-Peer 2(x) products from the Peer 2 family </a:t>
            </a:r>
          </a:p>
        </p:txBody>
      </p:sp>
      <p:graphicFrame>
        <p:nvGraphicFramePr>
          <p:cNvPr id="13" name="btfpTable911521">
            <a:extLst>
              <a:ext uri="{FF2B5EF4-FFF2-40B4-BE49-F238E27FC236}">
                <a16:creationId xmlns:a16="http://schemas.microsoft.com/office/drawing/2014/main" id="{E936AF5B-809E-E73F-8C1C-5C44139CCCD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0814223"/>
              </p:ext>
            </p:extLst>
          </p:nvPr>
        </p:nvGraphicFramePr>
        <p:xfrm>
          <a:off x="330199" y="5054704"/>
          <a:ext cx="11478722" cy="134102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672978">
                  <a:extLst>
                    <a:ext uri="{9D8B030D-6E8A-4147-A177-3AD203B41FA5}">
                      <a16:colId xmlns:a16="http://schemas.microsoft.com/office/drawing/2014/main" val="3979482378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975737508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2146988997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4264818982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1760321588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3471812864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2671026402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2003307010"/>
                    </a:ext>
                  </a:extLst>
                </a:gridCol>
                <a:gridCol w="1350718">
                  <a:extLst>
                    <a:ext uri="{9D8B030D-6E8A-4147-A177-3AD203B41FA5}">
                      <a16:colId xmlns:a16="http://schemas.microsoft.com/office/drawing/2014/main" val="4060659402"/>
                    </a:ext>
                  </a:extLst>
                </a:gridCol>
              </a:tblGrid>
              <a:tr h="33525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solidFill>
                      <a:srgbClr val="CC0000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933861"/>
                  </a:ext>
                </a:extLst>
              </a:tr>
              <a:tr h="335257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endParaRPr lang="en-US" sz="1400" baseline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endParaRPr lang="en-US" sz="1400" baseline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endParaRPr lang="en-US" sz="1400" baseline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3"/>
                        </a:buBlip>
                      </a:pPr>
                      <a:endParaRPr lang="en-US" sz="1400" baseline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113319"/>
                  </a:ext>
                </a:extLst>
              </a:tr>
              <a:tr h="335257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US" sz="1400" baseline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802219"/>
                  </a:ext>
                </a:extLst>
              </a:tr>
              <a:tr h="335257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US" sz="1400" baseline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2"/>
                        </a:buBlip>
                      </a:pPr>
                      <a:r>
                        <a:rPr lang="en-US" sz="1400" baseline="0" dirty="0">
                          <a:solidFill>
                            <a:srgbClr val="FFFFFF"/>
                          </a:solidFill>
                        </a:rPr>
                        <a:t> 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0272087"/>
                  </a:ext>
                </a:extLst>
              </a:tr>
            </a:tbl>
          </a:graphicData>
        </a:graphic>
      </p:graphicFrame>
      <p:sp>
        <p:nvSpPr>
          <p:cNvPr id="41" name="Rectangle 4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jRSfPDI9ge04vzIBnkwiOczEJchhKXb9QS172yOppywcJLM38MYug/rZYGiJd1xkXFLT/6YZm9PrhnQZnfJOyBHNuDFoieBooR2XmEUWFEc/A9088K9ue1GFyxGFBs2YHWzQ0oJ7MPHRhYhtpSLSxH3VE5gxY+y3i5+DKhydoKKwy3topPIleNyT7T9rKdXXwfRdNLKO4ot4NL0Ej8FzR/HrEYoYIl+Z3JL5I4aOZBAs0GubM0Dyr21ir2h263pz9ldTWmgp5lPbupawVj0iRQ6Mgj1S+XepdaJnyh1ff7R37FdNxnfdbEWf3iECdmZCgMVws/oVAXUgDzJgjqidDRMFgUmVlqiOdVnKYDGaOTbg3PHOJF0bx8YpIH+u6T+N0y6cBiHyFdoJper140QSz/c2WjZGFeocZJ7MBiLgjz88wK+JQja6UlU9uIaiA1aYrH+N5uW//olaa32SHH0JIsNFEzrSHp5R16V7k9HrM5uRi6IWhIbvCWsBosOOWHU98PJ9cHGLoEbHJLCGWM4K0BXD25niN7LDNSJuqUNByE6SOqk3/rUpW9LNm9AY+xKVDF9oIlFYflbkF1cUpq+pHrxF3G6QSsDBxLHsFEaE3f5q/37jClz1SVB+VdkQXvrvIGGH4r85Eu3CrzErFl+k3BwVnGndg2tU0Co9WG/wfhKxZ9KmkP75Lpce6z9K2kNFcho4tHKzmI7r/Af2NTWNO7PT3hesJ9okE/xCa2ULHHUh0oOf5SGaMRG7xVfS7PBBDksEW4AnTK+qTeZ62zJ0eZe4U/uegsi3d3Dewg/GXDxAxz/fp3TzyT5gb5puWRoFFFnsMVHLKAHdxGAw7ckIw1liffAsL1zItpudMBx8YgvQKIlHQxonO8VkCSF2d5D96/Y+gMMD56EfxF3/Y/UYgE8R+cA7MSSq4DI7TM1Va0sIFYisG6y3OUcq5X8jtuGle1QHewvTSM4MMeTuneoCGp+DyzfY4FVO1+0vjiKuPOiMq82enHn+EbVbEGe+yI/nQPt93I5hnkcLOyXRxPBnggP/y1gIiI505mvmJn0+fE/s+6qPfoN00KgaU1lJcZ9KTVoZfmRltwp/QgJvStVRyeDn7Fh6CSbUqyzjL6dGlOzHjHnsbyZ9FRqcXMa6pqSAAuAsLGP4uvFhRECANTzPqL0k+8ICWVmyx3T5uS9YJwJqPdDQ+ZQhHqAFD7fWBYstN2Ba4rKBIP0L7tHveC2lpq9w+kocNbOXXhXCt6zjIjcflVJgBPICYKxydUpEl6kpr+T0ID5ob603hWzKoHhd/0HAqvdDsB1p27VpEPs/Ga45HljPcFeRVUQy6v/LLtHvTIRvDEcSRmjDpM6xwNVYT3lV4d58apJDw8c6St8N1wxviOgznAPVJJSAo9kpJjgzpELw1v6MLBlo0Gu5LA+g52ENn0DafdaIXiHueC1ox09TmgCiQjtgpvNtms10/BiHY/8mhflo8STywcdQkkVAOhhJd7+yAUvyhRDSuBXd9LvQ4k1dBaVx6ENBVO5lhiB09E/vSCIR82x0yXWXcCQdW7m81Pw82SVP6ug4fZBnXmIus8zSwe4Q3sCwfkUWpHmeRfWRxym36F6UUoDjUwyRRssz/kMpFvrzy8A5d/sHqs0JxRHTJGRmIlaEghaAr5ZbFyI3Yvc6MdBKudmmnrxBvVTzpxKtiLpkVwr6xSNz+ZtU+gBpIXx3gE2aWvftj1yggiRzwZXuYPg90L++ETHbyTfDOGJQkpmNjvrAeYZkMtd8V3Qdv1cKQtB0FpZOx7BxGCwtufloK7nBV3UIWaAKbWe3fMCH8QR/yDTeCQMNToqCqIdu9gI0muFywhaQcnDmdpto2R+ZPCCWbWi3hBBEUiEPDQBFttEZQ7dX8z6rxW/1fNVuHHChn/0ddeuhd6NUuJzPDA2xYV4fMpyMwhBHw6kaB8ntnBAbNAj7cTLSD7hmSQEi6/ehAxb9c1BASnvf630vcITdyz/8ZUTiQAMiV+b5kfs1ukqmSpMUpmpybzTeP5ThsSrMqJKHg+JXk5lk1oq1WLk+8OUFkhYFg0rcAbzxIFkZGSVOUomESIsXj6Ivmkt9qC24AvainBXaSXuEZ7S9bgQbJVq/fd20R/xkqaVuJf6fxjaveW0FmUjwAXMspNzIrTFPGaZXXQycV3ZEiUQlLw1GtM2ysK5KFXGwq7/DG5s5mliW972R5pMU+XVqStXw23XniH8tD55XpIAYGcWcyVwkGPRmQj6s5t7NDDlMw+pFB8EDJY41Yi3t0vuiiGFLkn0AjIcYOnZarjq4DRJBQT3wlDnrFmhCJQm4qbXtEcRdEJkVs31tBULxk/jZFdb95j3fBMcQ33YnTza9iCvEsZtevVCAQqZhjX8c/uuYQExKtCdt7V2pBNIUUX+/j/7/RY/QKJgTH2Ilh+iACRuls+rJiTD8uUULo/zVL5sR2NUUy3zdgLA3BXX6zpXFakZzc0B1SIONSt8FW9fm9Kf7FQTX9heYg0h3z90LTRZh/P/G5E2RkXMNVoIp8tRhC2r7TadSfx7IrE6alw7JB6JpzeyAjz7XAozcRQVxnh1e2fzq5sYUJ4fJlcG41zXY6ymGDANbBDDh3XsHl3MqLIMQIrpa2WWC/rSjEFcQmJ3wqeXZQxWaC/JBRGfRA1TWDM6H+MYbGGpwHwynWSg7KTyW+qsqEeQ3QEDIZupspvbiBkc4MGUC2h5Dfauk07xIUhbJHGB+Q29S7KuYvKc3Oi5YKOh22p7TPIlEi3H39HzBBDii2Z6SIryKLLqHgz39zs1S/S8DCggCJ/brcmZriBB+xTtzZZkQrAoyDuOuJTfmWLd7JhV0/ydcivD4CtoYLykOo3WSlAViM+JV0Eb2AX9LxgdjCc3sJh8xSiep5Gt68eB9CfDQcBhpsRtH1EVCwh2DX1A4gsUoOCsOOGtDGJP0xVQLkoosm96tlhX/waRGGt1c36hXETf2P9feazJykwPWL7vg59LR6ZeV6aI9GvyiKh7cGBFnfsX1ER8mV2TR+HFbmedxFQqWm+vAViB5Zq0SM0R+x3wyJxQoTNwuTEdPvHv82onCH1EvbNjldgEYnUmdEGk5kOfm6Ixp4xV7kK5q1nwJtTS40yIpQniI1Vqx4/0HVjgVwPnPAf6WmLkXGajMB4v5IDE7KqKFVMEQuHnEwg5nkivAaJoIDVxvDjIO25Sa3tLHICk2+IACber6OnUb+PmIzSoSZ4ay21/z+o8cz0TSb5ilLmC+CdvZ/U8MfMmJLuG+9pQfKFQw6hxIq9KntKiz/1H8h/QGrUXFxEl7bYtOCVRF5rsHjjP5BwTqMtV8koEB6YhqdxN/M0SK+KE0S2S6A8nX64A64eR4r0FBRC1XTYPYdMcQSS7MizH8BWGjhUtPot43Ivcllv8sFakGwG9yF8B0bt04AzYK+iNkLlbaFlLUXylRFjHp/TvEeR6BW8ONDoOmdrBNnJ/Su2dPBZfTSaZe1nYpHb/802VvRUtODeWjn79L0VRyYQ7zOkKKXXwu+x+xzbXzDTeTW0A4zupTcuxbuNOs4aYvt94I/btR32KaaaQ/VrfvrxpgvcKsJMxE9Nuz/IXSGgO/Pp8gsKNacvrQlwZx5a61i/bYk43McUxqY1ozRWZsKiwaEwg/6f+CohkhaUflk/L1rU2TDyeZv7KYiypLLBHt0N4sLQYJKzdUSPQG5aJX9OrbRNbVcV2qGP+pU/ysfhpoPFYlR5RRGge8sr37WYpflDUFF4+44+s6JA16UItUsUJUMnwhjYLMZtfsQQWiYGevVLaMcXRtBLLuUuUq/H81KxwFw7WHfQgBXBo1xCkQAd4fgrRuxQYfq3BKBnrHLei5iUyQ5FglZ9J34Wf3yaQbVr0oYSK7tAW+zvXUEyoEYCa/KrKkGMMrlLJJc/ZTePaIB0/pCR3g3fujlbep3JE0dy1GbZV3YXNtO4/6mKVqW+n4XehpoNP0cS9k43SGnj9cHKOFDhg/FAirsREnSGd8dZaERCnrJn0b9/ViwUYD9Yb761NZrEEWvsxcgOE1Q9gKtQK6WRX/76PDP2GUcTN89avidl+NhLUTQUdQ8Owd2cdyUTtmHrevvlfNxjI+s49y2c6HgqCZ8cvN0n2ZlM01DeSDkp3h1hrFWqsF8BRw8KedsoSYUVvr/WxF8Lq1uN9mu0OR2nvMdAhcv4v7fmpuZyZGHJWe7tdkNPXsr/2dUEeFxIqAevzDt0bZKqo9q8nXiJvsKhdROmcKVupAkkt1/K36m3QJuxkA6sGot9Wn/m45e1CAAIU8SxG7AHAX1gEo1R6/1o4Wp7BhM5HBBo0By6WY3bsmU8jw534JmWgpwDI/3qgmREvSi8lH+sPERlSLGotM1oAh4mLs/5rbKx+vorOkyGr6ec4vX30GP8o8x/1k1V1hJekoiGujx3BbfpUddXA7uQGIpprJKU5v368VQXcWE4cR8995gyFJgTCSKfT0XeKyBnyLgYtNS9ukbOsXUMK9/qRD34TGLc/viFhtIPXSCsR7tdwdXcmQHa9LyTDN9hxMzeyXx6o+nqSB19eFlUF/Uz1v03K2xe60sUHMxQfZUYqeCAmeTNWOfwmHGKN2rajbwpdFuyje3ZWf0UG2XdWX2Lzt3FrJPiMvX7K/tVrQKaYp1l7/SLo1R/wjBEWe4c0ugNZqxwBtB11DXDGz6XwZJXixrxE27KHTavdMjC0UbXsszx4Z2iI/x6Qoz91pfGNxkRaD89aw+hn9PBvlC7556z6s4SiJLJ2jrSgJU3A1w9bAHFnZ0gNQh8h59VaLgtmexAx811IRqEP+PGZpURt2d3mx8dLlKC2qXlfRdKzgLQs6dwbr1cFHLKaN6zElCmadXa17c47ty145moaWCxJNt0ccDZ9ms4BTbDmXYFONAU0pBFkPtb/bZEaDqDxrxhswmylcWnWGDCT8BaiIrCaMs76scCNnsGmCRa2lGcJ+p5yTBFxrz+Fer44zKsQEJD+P+BQ3mVMtXtq7Z+UO0fMS4iSTLCho3CdWBYyu0cMuKk0HmhSe8R61FMIlb5wWj0dx/InetiS+7wDN8n26NCQgnP8Kz5bgPhuUtpxpFfuuLX8CLP3bmvF43SnjQss+rW/RpT9oG2boC07cPmT3WHLMEcrA2xWPqT5b+IAoUGxygI/GDiPBitF+VTyvek+gg7lIBfmGdp1+I4VlJEHqdivPvShdITbAta0JpCTVW7TDE/5FS4qmZgzYxVVtUNwFf3ksYirEry0U99P800uJCTzN+/B1+mYJHZ2BNwKsBMPBCoONEayX3sr7JmooWsRvMk+qq+Z+smo9KjVBwbWfm5lvL+jUnC/gEv7zchDMs1QMTHY0m99gijq4gDFfGEEaH4/kiX1RqXp/9Tvr9/CE6oGmf2KXkBH056E83CvZjxdqT+OQDd2xtfiFnC0M9QMElXA41nYU6PRrTg76HsDXPiZUYeZXpfz7RyFwJpZCKzLU33ulCmK0LcPkveAP5+MCKVfuiw/IeinOtKgMM2tna8QOEr0Yt2iHInSJUUvYtZvwZSdaJowBMWd4DbryxsbE02iZncB3K8fQgTK99b0LKXLB2jDbustYOfhejkb2oNbPjongGTKdjRj1jS1B8KZA0nWe/WqN/+qKVUgSvQXfn6/rtYRz1wiuX5lGsfGfwqKCaHhaXVsDERNvzys0J6gimPTmJO+fIXXGXXFgpp7hCC7kZby9q+KvMrIE5tUFK+5dkxTNXKW6V+GR2EfLROgs6JudXz3Qq+2144Mz6u9u+oF08vdcjBV0t0uOybl1HApv5RUDR081kjvJ9N6qfjoVNkVOVB38j/Dp8nPEvRow4//sKNNXwjvl38qzmaojU3vp7rED4iA6gF/Dk0nzO5JzJVOgcTD6mSqlWh7yBTdnk/kXMondNdBOedF1+Bso7MmCA3T9ngBJDgXQaHWlZDSOR7hBrp4/vA1zOjtYWz6EYc5xEX7RRke52UcSyWUQT7y26cDsoh/bih32Xq+PHkxHiU2tIxpt2jGVns6VF3iGtJ8igVZt36xpzHBavrRLtsAFaBprDHrqBVf+RaDRKupdrlUj8uOm1CigJf7cRLzpd4/pk//6P+UvForfwOgN1K0yEsPo03lOQ7tf7SezS7gHELXH7/qpeTnS3Vxs9IYP0vX6REtB54sF41OjKdtAGcYchXYE56ewamstjMmO4VEf2li8lkzUSJf4YTRMXoe0I5NznhdsIhjI6lMlwhzn8mp89vlPNOToFm7C0BZkRfl2PUmjle4V7NrvwsH6SrnqhGL/HFxEHH13FCxcgYqxCmw1XiJb3JI2QK8v2+dnwhvFCcsmQO7GPIC7ec1x+l7IRPfkOY5i4Ii57bCWn+zKHDsuqDCEIqkKg4p24iH/CADCxetTDzowXU752eWHNvtXilWMMwB/R/dl2X3fkKoyDVn1b0im5qJk4TnHE/+Lx+XQrEeEBMsPfSVf1LGdO5D+DhL6yG2Voyo3S769oyKrZkTUPjoT1+C73KUJuLrY0eJkUpYeYgcXWDvPC6RM/mmIv4pjNL8scHG1+85lLu+2c6mlauUqWHqP1n7AD2JuFKtABhO5vhLv64Asy8nzwoACbz2qA2aP1PaUauLhqE8/0iGlAAm7qACZPC2m5eOzHW/tQFGnfwc3n3OOKt/YkQtdq3LKwWCWIUheU/1w7tMkEOGPoqwVCOwBHsbKpvBIIdyUyVDgFfvIPoJbpigDmy6Yz6TGx000GDB00LIv3TeR8xBFYwBxMes3V3YfdzGDfIeBNcOPqefesUXtUbiOxgXs879IGTRmfQDP8ZtTgcdK4faZePrx5MtUWcgGJLzp65e7M+S93A8eYX5BP30oEVj73ahB1o2dvVFq6I1BSvuPTeZGjduZXztTT4/rETvmwzmB7zArU8sIx9ynoYP0FttgoxXjNDTtdzmcEQ4lKOJgHXz+iyNVXTysIDDBjqf//tYy8WlTIczWkXOj3GARosvt2Zu++TvFKCXQtDdmrhYNOigELVo+9BXvmThe1VCK4WaPajH5eDOLMQjXnSmW/SWrHwrdJlHJTMHnOuDTQ3XBqdF75FgHD/spTdam+yNfGlituoZPP9duMHnFBiSljFNVnPcg9u9n3QgImAuCecKyVN5t8rv+gRx3XPV5dt9eALqK9VaLw7f0KshjLkBvahuc50gdE9jYAxDslEYUnQwG4i7wMVUyAUmTvws0KjIAQJEb32tXNBCK/50qSZEpI0rohuzh0hzYHNfK/mM7OZAesjW097Pz6SlRanPnkXn64DRb4LfGcyjWtRnvb/RN02lAXzavvVIUsrzM/kMUrIdGerGqGULdx3zkFjZSKaowZGj9kJBv6bxgEiBcTcrLpBFnABHg7ft16JysJwTxuk5Vg99Ub06GNUAuOszK5MRpWQ+aONoGtnJeEAC/7SnecKi0AIt6XeyV1vnwY2V2vctQ3Ze+sY7RKDy9DJ8TkD8KlSLVGy4qSUIHBss+J9p8OR0+yO1bMuBQxI9gH1/pqn6qvE/SeYVbxvbC8xBQ0arZWMu4Mkxe0Tdfkk25I5ic29NHx0unPaA1+Ey2+VUd2Qz0UAHNFIxSfFcTbsqmvyeAQofxoOg/Dxtu1eRqnoohCLEoxHCyw4WcCnmGgYiifxOyDBgZt2ahKfACTyg2+J6tv4PbcIRhDeUsd9cMwVrOW9FmGcur2I7DCmlhpAJA+MY1U9MyUa4JOIyIH+Dg0yB0ZDeDms5TcHiuubhyjNu116AckWfS8in9UQjhw7+dc1gaUjfiU/8eVF/VxfG2OIoYtcaX16lELDqyTpDPqk/iMyXjLc5XkArxttr3rpBl+wbesqrYp351CkTpl3zr9H2OfjM+MqSRtKRRyb0rL9y6APWGxNYVtd/7Car8gocLsOsKyD4gnH4Msc4KKlaMW8Bgs3502r3YbfQMiS1jynygQA89gpIGrLnRVU+1FoAaeVi5znA1foIdHowqz1JwiKDZ62mscVZd266iikbo7ZupuqSZ70NdEz69k/CRbrPZK0XmhuHP0UDKiEs/Hksek4D5gRc7SEnZRl3UTsQ/4qkw1JX324uo4WDRxn6C9U9080Fsbp3W3fO8Mya1rUMmlxBPLYRq71kESGPrFCjy/oe+OvzgEJx4xyu2HizOYMMDQUpTmSNjbR9EWgqQViWmHL8X3OIORvibBHXWPLrQRa+1JmmxZf3oDaj1nEVF3C0c++39UhxgSkaD3Q/tFzG/zCji2XA7kRk40lqUpdptKJ4oAFlkO+/b8IpahFccoA3vRxdY8ZvSTy+unQytSFdiSDQ0d5UoS0UUxAwIfaN844X1LJiLhIgKGn+54BU1nFS/XHUeVd6InG1jP2896q3Ym7UK7T9FcUIqS0/oEv/CZaEyBPM9vvnntsubhC9qNenV/aHppmIR4G3/iz/uqvLS12Qlt1+f7aKu/SFOR/f7e1Hz52kFDA435XNSZoYVvLMlOow9JDa+IPKwaSym4d7kLVxyqui+pRagZGy93cSlpEk9TQlW3J8agENASW3BPe6bGdjp2Z/1lx87FceAuGwBaPj6hioOUpoW2dQyLJBMbpVwVW6jD8syYaL7nheEp2tS0MuXdWvwCj11tM+dDsFQoaF/6RrCFIObzcxQsiOgNns/X3lNxhXso9Xl5ck65SbvpqwbdkhStNMHvCbri+9vS/A77lOa3qeHdk+YelnelpoByToLj61PWk7WfyaGrVINNC6noCIFY+m+3KCDSVktRHvXBzl22qDyhJ0gTFwfz2OKuxN2o++c2aozsQqsTokJue3ODR5AalYGW1Sxf553bNN8lo0QS+B3JP16D+lVzLSEB2i79JZqzCdotiDVEEDs+DfseQ0cUjvNQ32wm9JeqPLOl+SO9edXIePs+C7pccGbFV7nnnfIg29uD5e/AG5Or0CgMDczaeWpVxTUPi/FhROR2sMiYaebgSTauW+QASpFMueKycNnVBc9MeVTXSaW+7oTISE7/OAUX/veDumcVFaStOYi5ZHiiuRU4n8q/FvMXjfn4EWjtqDKKOqKN30gQJuF6H/Jzye3UKiWMGLkkXFX7pMpYcrEqD/S81Kx4WrXiSQud/e3bEVdh7qOuG4iXSV9Q9oEva/dJHqmFspbN8i9Mp1lzx1+W5J//Wcm7f9eZZVZbxR8/kJV/lSaFZHBouxJ4QEtb5pIor7jde6CgvYxcOiLT4YcPKxZm43eNAx2GFh5lEuIdoN7efDJhBmWDnwtGct+JdceH+5Jk4YUOnhAGchPNtwl+i2gaCx7Osqq0m7O9BzC/lblhXkn9ICjEixpzpGSNHkaNQAyKaLc8sBOepcUk+7U4m/0JGEMGijwDeYWI+EKOHR3fN2Du7O9g31LSS0rmw9Ji+3RKbH8bv4sVXqw0rJJEkEErwsQ4YU4uyZIBRNTiRR+ZRiRAxZO5/pJ9yj7o4/I2oVMezvdA9EpDTK6EG+ks8ED267XXh8dEJZd2nkBjKEqbrmhae2VvDDppdNRWAK0UkAwLJX/1FYy0fOAclGbeukXC0Lu4jN19Fg5a0jXbQdzzaS7VzO6izj+IWylcJ2FUVOBwlWQDHHfTwRPLmRXxFIw72INGTBWbgWWSdYYqi35ywUKoyPVl7ijvyBGQaVaA0OwPmh3BM8j2hmUPKDYYi/ga3vCfQPmm09vNZMLcDo2qt876GmuOXg3cgay9jt+hdVtegy0VTWFgXIz4MTevyraA8PnVxczMVyictov28ZMl8d6N08Kxecr7OaST+UQk1dAZI92/o2kD0d1143bHizLT3Mo7hv2CYm7vZgLkPXOrEQOJt1gg/3gnvzr2oszm64B3mHEWlZnRh3OzPPj9r4CdeVJLYHhR7O/9oqDh6zbs7dO6aHPERJBAxu58x9tvttEJpj5Sm8QXK7wei+rlvRGpaOtymddHzSG+RbSXBNEK05aEFj7EDf+CegWBT4S5b/M+4vjXn+VemwsoKwZY0sRKGCAss7zSA/S0acMBscJAa1UuLKbu8NlokG2jBWf5J5/tOFupkP67LfCjJa6ZTydac9kkNmLUFgqV7wnIgM26ts7YB24fxBuNKfpeCGY+EVVoy8EuCHlhYUTLa/yNABMJeRXGM22ekEvRL9aRgstfdklwdZw7U14EFkZZNF4Igd+f4j6BBzeNX9dAbFpoglEhukUVPpH7zKQ3ZHCh7DDXhsBhlMQZoYvul7HTSfqqqqvcobRhBC4/kPClhCQljyf1D6Wqwy6sIJwkALdfeRhraVYd/9qLOv3MjZGIwKFzzHHUgPgQ4iqUbmKDnix3Bk5OrO6IBGfd4YJ3E+KTMv0rlkVd9Z0N0Fv0evba0cTxkcLLGdHwRc5Ynb6EH8cudU+e6kXtduz9aiuqjytAkOTkz8FRS52pMoMwCPOAh9sYpJVIoz8NGmMw/dEFjXf1xTh4omefu/EJGw9sjM6TyXknn3YjYTCGCAvlTTktVCXqgnhUfKbJqTKBKP1LasgGStyR1R2HDz1b2TfgV+Xt2th2z7wx63yiKsKUKnMJXGDaQOtduerQxJ1tMqsoPGLptAh5ScaECEhNWAroftwQHL0Siq8beySIuBJN6/pW9JmAway1bKC/qP4pXhMgrPxViHzdgcL9WiAF6aXOL3MmDE/0JhYiCA64ha3mrvvzsSJO5r4jWrQnowDRJ9dGrcIvJ2wdSwkIXvHvygT4LK4q/HbBYCGMJmbqY0Jo/BVPTlcfJpjkBoe8EITorLTMR1wp2UqYww6sAQy2iB8anwf6k2611OYY/uPH8uKvdfSVLFS7PbJwNDnkzYac59og4LmOanhrS0kyktKHeGJWwktIrSu3Hay6+F2CsIz02jlUeQT6eYJJorIDE8hl+jaZCzBgIv/XuyCdsqa5VHdhsb4sJ/Fw39t4WQF88XmQT0OSEF3Ia7HOUTV5Wjk80MS0UdxAEzXA464+2ezxra0J/uW/S5jMOFnaWh0iJBHbUDVQa8dO4tp9vqkmYOi6uIEy0uqBTd5kZSH2YE0aUz5uBmiUuq1dNK4JVMwRNoUVMGwf0V7r2OCmdN60Rh1ogdk+UwA9wvLZ2ZSahJO6d6IhqgPo1xE38vbPbCTJmMInzmzdmcT81PE6BsAs3Y3RaCZITUxlx01dSmT7eFTuwa+QKP8XI7jfawF8rcOzEPbJrnp16aYRu9QD688P/z6eJsf+3+2Ats2Uc3Ag8TQ90eIM8KzSqYuct7QDbxQp+AAr0rEmcmySpoDcPa6vRIT0Fr43+yG/7a8SKHGFwvJKL1KMUYJuJW1n3O9DbInnhSAEkhrN6KFuwD6e2xRQatok56KlQXH9FPW0YysLXNin0xC96mq4CT2UiH7MosClBUiIzankbr3cPw4mW3yfS7kGEAPKgDLCWS5crmiV4I36sobz/Q5zLfVwmmyi/FRD8J1APiKRU4eXSo/6saWBMDp5VyyDscFwGuZ8ZgzLAUJslw0Xt+7reBTAZlDFCixyiLqVTDjD7fjoFM0eacSZ/uch3xlfk3MlT6Rov8HSodtG07gFyaR0hCJ6YZ7216iW7ljYP+5Mdu08dGTQxABDv3AILtmTceQyfWXoogTh9wdxUYg1f7OwtTs8KwGN40TrXobVbC4xMZYhz46BM9ZgYxyOF0ePM2tVCl2QqZ3Oc6rtxfa7gJaPd2U/tba+EBbmTKjYir829g0Wt5ZIJAN4Gq03YeFAskaC8ioSbo2RBx9M/mXll1TxejJhk7FNfWEVhlodVUkFO4vhUB34vb94zx2TeGZQUi861lErneJ+TT4SHZat1BUTBhGNGDsNo7S7lwIbLI4KoF+OZxemzqZ/tZW/HTg5s6DQLN9yCMCVsNhURImA6DILsMRod1m69apGHueSACdsBGFiEqYyfO8bXMYblSvvzmgBRoMgU53oHDv727dNtVLzK5/3SxZBYZVKF1lzDedO2ivxEhqoOMNzXbn5IdkLLSxHR3u8xbh7OmGfYZeT7wMuXdqijD6QjpH8qweqxE7fmR9qGftybNRZ/54CZmwsx6GJJsSu+y/7/Qu8cL8aaFfG1A5RzzkerD2RtDium05HNB4rbjKKRJjyPqrITRz0tVMWYj0I682xiUof35DxM8ppdp2HvHUE+tsSUTmMAnAHBiHRYNnM4iQm3hrEOWWfiTrQPVan6Fyf4t7pjpjoO6zLKnmxqWVKDaP7n1LAcBrAIVzdQp7nGSkDYMde1FASwXqxnfnVdJXs33vdBhEOz3412Rvp+rb9+O8IvQ2xzTiLV9KTNT+SICxF4BCdI7YJ4eZd2rvH2c/a9JWXXcJT/XG57sPB1jprUhedHX08rCWtqMNhv2pFNvxXmLYAXAa5VACNvj2AaAlmMiBrm3nsPO3bDutBzRmt5S6L4mgFtBXQMkgzC8Yem/SszcZMrh7l+muIenuV/o5IYkSJwG26qfVvc7TVvRN17dJnb8ePfb9Yan0tANPWWxvf+d30oTrAoqLbyte2qlbWsH0y6s076AnKfeQ5rNc2x7ZBQ5ysFojsPHPM21aZ4xAEgXTni9Hcs3DS18idl71m5LnDn6t6iKk919N+bmhTFYTBiUEn4lqS/Z67G97mZxYBlbopbTbhgdGzTLi0zKz0qrJUoI/GCWG93Wv3UTxpcrVKnk+bjoxECxwGlMS+Gh3wW/hqLY6kiZbi16z2xkCBibhfpzmYRmyDSgNWy8SYesgMgvhRnMhz0iC0txL+cWkCrDuzzFXTzwV0X00uTHrOuZShTp+WpD6A42rmE6XClpvLtkiWo+NpmOuoGvnHvzVj4A3VhjwKfQImHjLgvBM6LbZuYKBh/0gtmJPUuap83yvMnozz6R5NeGqf7t1hnYcCsIS2HR2kNUKMAgfmEj1XoJeGMiI3aUXGX78tsPwYohwIk9KFrsfHKOaF7p6bUJzKQZqrAkBrd0t/AnKhqt6vwU0kGgfSD7Tkz0v1isowxmNsJBVg5Qc6KFaXBFDcW2bHyMYtpcGAzgwRfESOvIE+t8IRmUzrpp4xoFm4r/ibU5NzLi7AmHHTKncFxUm3Y5IYjo7Yo6/bnryP3hoM8iWTk+YKKEkISUv/dL+EOaLJ/5qLqjrD2/z7lF45B917IARa2icBL7+srC5MwmisysdLri1XPna7abXKBDI/ug/h8OHF/7SRDYlQTDCn9KF2oX+gKRKMO/D1uaNzto1tslwRZoi9BK1XegXvVwALo4gLD5IibxWPTA4HL3quRtH7DbQv55Ma5yV+XaniVF/iAGt/gQQPBdLatzI8OT2KIpYCm4cudrWgBsWyo9kxeLWX1S3wF/u6Amq4AfKH5cEbFg9vOECUm/50XjgrO3VkxFIR04r/yos+WA6NVkTCRphMfSuTOQ+TdeM4sG/eGwpI2gLMPQtVWzfrYJPM3KDOll13wsK5MHQyOhTiPGuyokjAC+Er2IOxs77BBEQL4eIB/SKzEdwQrzS3GLTwUDFVsWli39liGWcicCfLnN4uhYoUGn80iHsLluLPotEiP2Rx8s4tQRtbTnX9gk5dSMG9SN8fsFyb2W3YFtaTooS1ebjXfVSlL9dfmTqYzt9um2R6g0PKTVQKChljOeFakHjc305OG1+hKRa4WWUfPFSNnT51p8LdwW/fV1V/nCDxGFODthSw63Ja+7TvXjT2ns/tGJ6oO3cffaEYwoROjXi0W21Jp/3CkBNXDsXWQAhUTouOwSUg8WrS5gqbXIk4vhNQFsapzBY+anLR4DRGB5cCVlfLwjusFYZxQXOr6cdcIOQnh06fJGY9Hxa5+/FRdYBCqqhoeZCy+jTTCSBm83DVrk3lfkRXzrNshHiy8mCW/gtopYqna2sYuXpZqRDP5JHY056Cy9lQB+vTTpPb/PPmc55eFJ4UkZ/VX55ul+VauaEwcBukbmsg5QH4A2ec3cpqA/ZRfkHcHCDL6c2LHMR8EwJ57D9/2G3zYerjKXSDsmMle3drmCRAvUKaqLdGriQ2e2Wf1cO7DC+GNSyiG9V6PJYzjNTMWlL5+8EIaKgQ2/GQf4dud8AV8sctSV6bWPy6/0Wy5gK/yxFF6LQDf3qOXmgnkrjvDepy1BRHJpAgWTcpKAYLhvLtEFiNmIgPmjrk5b1CjtzIFeBLXKsNJKgepviP29ySHIMC4cLJlJ7MwcHI+Hnv4dxbJr2pN+7/jzBnoQ9zsz7gtaLFTBQPPfDiIlVBGmOUP0UKtkt27rmyXVS0Rx8bQ42gpOjWpGgaAWhc34deSWVMD6GZnVMgCuel+AGL5o0TgXGTt3/H6f/6LDr8C2tCrPPkC2wGM379yU7qMnvNQy3W5OIEws4B980HDlzK5lKXhlybHt0n7dsVCsXIZcWLWRLu08bvKNZjX+pppZd8nvapnZ1zpBb/ATLenGPqEXnK+F65KdGW94rSrgE/Ib9k1Xsj7B/MSGW1ecISeXldfpFpM2RelqLtHZBm2rWBKlxmmG3iG2pzdgsAhAfppVkp4ykaUJK1vAAaskTJw232Aoc7T2uRVQVKIyJbj98BQvII+b8LxXrGoElyCjua2GoR3wIn3ZmK7U5HXtle2t0WOXaHQlU2t7sp/ZTCtZCzhA6EQ9MW+EpsiFFqoK9Ny5X9XtJGC6BfBa7Qxqe3dgq15fF3K/ivqBj8BiI8RyLTp1Ly5NDhYgx3zEKlWO+OAchN317qnfDKgEI3n8m6sjZQ560lGQszKKkUhe6upTt1k24g0UF92Upmd4FgJ8Qs/HyY5vG26y/Q07XdywR2JH7eOFafSILZ45jdfGh4iN9eopxQrogXErAEsy7rc8/0q0L/PZAsZ9wjd2/Mwb/3BZYRpdJCZTVQCVsiRXoU+fQJkpGW/M14pbWOCYfOC55zOMulLJTg0BZqIrk+8EPswYqVQUjKNAmefxKXEU5RbF+Dp0bS/Ro2hV0vfLCj9d8PsONx5OF3/Mggqi3BVbByyvzbsOgjM8aYMOW3y7/FyGyXV4aR+mPO6ylOLFSElRpLv+jHrrYUR5PnastjAkOPTBo1cQusj3YPZTqoHyLeokwq0MmRCOE2xmv18g8uflAe+xZHvnVZhRvHoaz3cbvwztt6kp77q1win3Sew6nPdOWos7hd4paa4iQB2wIDDgUjR8Z2B8Zg37HzO+bAnNokcX4LXR+6swiGn+gjaQSWQ+V9RIiBdmGzyw8sFXyTQO79W/EfeJf7IUr2t1LmVCJUNbSRpB0NCoMuZdaC1aJp/iiaGGZ7TQsvR2Yu7UqPmzZ6O/P1olHMaKEb7v5O9r24nhDgvgeWWcnk4VYabzGIq+khWH9GrFPvXLvxbtvw8agLsEf0Yrm6qC1EY87EAILGNYcr1GGD+Am0viZr5CdZ/3ULq9/EQiLqtjxR2L0fTaoJPMksyK3a1jdd98RLY/U1BevndH3HH6fpBRxuR/3zmC5RurMbgmNxjP1HEVaTXnX47D9tWoqFPx4TCvvy0mTDN5fqJqPEcTwVBnA57tfzXYvM5X+Kd4BnI1otwd6Bj85g63Fu2feBpiVsafk0mUYdU3Nosjjb7UIaSzUc3auJ78EncehWbsT08Ff1XBnBHMxW1uCHRTDw5/kgEjEQNOTn0vPlwr/X5dzISKrDfya1+xCRce6xiK3jkqiVreyX2VMVL0lfl3dVwse09v7a1LHzQZGjH/LRsY3qDmTrx61oMq6wfvp9GbRkxKRsaqUMAvhWlV6F2dMAc4vYPCV+4U0EQzugoaK7taQHouYWQsbmCy+aaa7Bq1/P6Np6unQMzRpUdjI1JTxJijQeWXd6IKFvgHpxkfMFBlU0HyaDAUBZCeuUITW4bbZVj61Oh3GW2y+BBE0quvssjB+XyeadefinrA7ouKPVArSd479DGboa/R6SKly4EeZJ4wWfDn4ROFlvxbbXD+k+6N24Nqcc2ndzSupXGcmPP5sxRulFtvHFzKDftrLCA8tbAPYP82h/4uFh4DxrSlvzTrCeCh3y4gCTbdGmAi4sHZoWu+FuaA3aZChXCTtbggqilHl2hfK9Go92U9GRT6fH4trL0T2CPTJIlbuasxJLhk3YIDlht2VlYQuBsy84C+LGb8ks/iGzH3FlQ8bG7K8kN96DN30409LILvCjGhVthZ++85NkG3duJOApVHAw+pOeKs7sjNkGXaZDWYymjKWWW0seu3DJUitVL+c7DeEmbtjdsEf9bmUtlO6aj3ijNzMhFfy2o6ciBSOQIM1zEZ0JwTIciG6E/gJg0vMwj3KX1q7iTfWyvGW9Nt9hkeQJ0e/cB3vVszgYJL78oHhXqmehOZSQSwV9eBor1XozSDAQdL2m/wzVkZRzPrWhxNFCrBuTneeIZJneWQ+YQ3yDZkKTkm35LkPbsLeYhoauSqatgvm/Yo0D4aLT9GSuI/tOp7MVZW13Hwv8zVJglBZaO/FZocPlsWU8ox8T9srOYMqCMbF084pP9dYF0l3ju9bB3OVqW3cnHjwku0jmQ7rJTZ4S2KY9SddmZ5Yv/3t84RoSEbBKVDOZXYORK2TRba+bTYxhjr6JUZreN3yKm5k4lOdPYQmNrVZi+UXBHo4OLp1Uc+o1/hXbASaQGa8vo4P8RGLc6sVj1EWB31Ny3IPulIGd3E5lZjAn2ExYfRus7V/OK13JBGhMMifx+5aBhhfYSX1uLngEaNDJvTmso3w7HCV2zhxk6rZTDtouypb0TSyOnlmwHtBTpF0p3lz2Ny5tzd9lgNszdpWKSsKrObnOpQrQkdxoO1B9bwP34C8uIviYxJ/4uclIxm8IVkqs0yRkXAtxjpDu2psIBTDcXhl1xTz5VQvHifsDxiKqbgwShoTNNpNjx72GJR9HDGtprJY7ze9K8YrBRSM16AIFSKDtj1zrmUEV8nzoEVXxmU/ekqXXJTzk6MZr2h0BuaG+HruxoaI6KijuMBfRX8p9l2MJNu9UK7tELnWy6b1IgY/IDPWaRRODpTJMbhRI41r7vCHxYOy1vEva2SegfYjZNkNIlIndx1o6OknPKJL1vV+EwILZBzBRXD2L2xo+OBpJkZlYUC6K9S0F1a9iwKBw78Rd6x8wyB4tzMZ6+UHXcXDU6PDavGpQqZV82zbY9AfssLKJvk09MDZW0FuDFResPD7cQLQO8dkK69Gf025XxLjaUSxIYHfZVl9ZojXorcq8mhf+XrT/6weDTTrRH/x+YCh9p/vboKigJ5Ae8RnIjHsY2PtKyaa7srBv/8h6fcbM1aYS2+/kcjOb4mTjigrwYMmwnHeYrdP5O4r66Mmns5lLtdLh0EwnL2nGpcBeg4Ec9Thj65vbdki82XprJns5q0yodpzp5ThM0Rx0jTBewXqX1KoFMJIC0iC9ejLvRHawt6+jhKBw4mQPUBtPh2sU2cT1O2OQbiHj0UMJez3EAF+QYLeZh6PsgNEFkeyltWu+rug/KtsScUeMsPngkQJc5XNDesGiE9wsdmP7GMuhyU/hXbQLHOT9m0EZd9H3HB6n0K0wOsS+v1t6CGHyjt7QwMaA0KI0gqsV3cRyNBGARE3P+WQLEMPoe5FCx2RrAE47JCD1YTPUd7moa1vVvaZrpsXJhvCDo9K0soljb5kjX04IrthHSkQizXkrJCze6PkLOPcS6Hv7yJ8RM7FyT6u5UO5A0TvBXJGIAD3Lskg3pH5aGS46LnPjDB/KjLNcTUkzMrERJVebS8q1FwOBO73IbviEfN6QcgYifNCPbtAJ7G43U5RiJLDKBl4MYeCx2rD2j7bQD+/tIUAnvag7Yyz4u2O4wSGzrztugcriHFqD7SFxc37mbfUEkPxN3fMjGgmoD42xWNpJfQgUoZE0gt3hSGC5RJQfyJvhsCZD82YyEYLJAb4i+43/8XcowW3Hnm9xjAnMPMNoUvpf5FSWi4DRZGdjT89mcJgdiIQSsWfplnlnY7HPAJm+7CNWRPGNsO4XtiWCnLKztW9ZyDGmZza7Rdb1L9xfgTJTRRHJpu/el8NYuxM41rHEWB/4IWGQewWTqHL7cjIzzCBZGumsNV6tGzEMvin23AScu/wq4AZAgFvx9Rcp1Ah2/VelZqjeennzVkyqtZnE3EhnowxWD8ludttaSPiZjhFf09UYXuDjjI4gycBI5Gz9wzsfXjMWwanQ5Fh4CbC2csuNaodSbbjhWvkY8PqFpx1X/l3OP5oIPPH8m9nlkoSP/e48ILkXUraZryfsRYxfywvdouILlR4841dEs0wRMwNEYhxPswPD8Uar6gcgCVTzjsvYDzzAXuFnhm9lmw83K6M3lbInoGmJnPfORrMbZ1na1wP5WVye0sJvtKdKABsRtZj18rSCzjVDbdcytkosFG7/UlwfXUtsGvaMm8JOQef1AqR5VwkzbTtE07v3KPbAQ6JQ8fcQn7pEJ9lhP0WSALRQ2xMLBKcZxoAwh3wZcKz9DABBASzJ/fxnoOlNRwUgRTdIuhsOiw1qntCQytHqpnbgRBc+/Yq+hDuuNB8namWCt80eN0rDxHHEJX2M6U0KO9DeP9Y0BxDG6axgSNcP5g+KhzK1dqE7JnaGQtZQxfD0kMzO/hZcAcQM/RvoDv91Rnb0ryp7m5ErSJq6Kpiaqk24EqziB8Ps5ZnTMLtACFqv2mefeb7eh/6wrSkxsWZNXUoa1UOYzgmLCULsNdENBJNiYZ1Y3Rc1GeIITXgHXqGMNQl3ZeX0vneQctJoxj8BWEOBemU4+nThvJmQID/lT4kIec8brzk499GW7RYDHX258gUHi2uHPeS8C2ZikhDlx1gKe4h5m1ilQJgH2pJtdxuPo2C1joPzR4BGOfXdGTBH/pyF0Ue2sDC6889KNWYFztFoyJ4KuekgEv63nngr56n2ELYKYPFqCG+Hlbfof1MJhsrji6u0hClvvT4gJ3djhsuvWdJwTSbhqNTXPDuz63QJSCWNJcgRcgSddxHmbWtuPn1mUMlINpZv/+0IozHZ1LEC8QhJSFDQAxghkoFOqWIaMYxUgoCcmrX5B8AlBPseTy+JGi3jc4Stf44lWcnd/g9+9CRN4a5NWMZ9rQIevCAH1gzcDH/bMpcHnfGvdLSaJ6ONZr2fFIjItfKlXqNY5/npysuqng8F5hI4Gq60x+O2LEqa3ZcWRb3H1uj4badLG9YB8P6Wo/Zo7RIyCA+ODbR9QwJdiDf6g7Y4iPto6wgjbi1Y5U2Oh2WfJl7/IiM7+dLWIq98VOJ8Ax+M8RoRGcDJF/W2pGDugu1Jhq2HxX5XWy18mxC01gyJZdC4lQlhvZatGCLcNiTd5ptPnCMzGLH0Aax51wHGeTy7Izzd765hXWH/Sn4L/ZYlX4b24dubwvjwLPWCJSzze8R11gB2O5PUgVO75JlTxCb/VQynPzMyluLzP2CdLyxRNPlphFBsk43S5wbv/lJZNEPxyfdRTK47W0eazPmisng9nNA/IrhXGztKh+4O9LuaB+spTHyKQJSQzcTiOmOg+LleXvPvtYPHMSw6nZZl6PkgA+l9E/PBT5vsoEMxkiSR098AMw6iMBGBZiQhbCaRtkrJlXX8fAixIuYzC8VUytLWFFRoWAzYuRlcXYx3siuHSl8MAdC/AkugIRUQzsbJKCDRnqT9KCL06/tIWqfO0HqwUydCSQdIQRsqHcN6fgixPq8i2lOPMQ2NxOytaAw/SHr6y6huf5Ts098rGpU5lRSlzorXhwXeVXtL8YYtu+FGrHPjh/py0I/WRGJpUf1Z+oYrJy8hC/J4/EegcbxFx5akoqjZpDd2WYMrPRdq0drIibKpJcCnOYz/rs96NZmFmPwdu4mwSVmMDkYgG0FC3xb/Swb/9/NDvKpqciJJSekNRIMqcQx2WIsuVCG28Jn05tDlwdgbQeQA7LGRd9ScWM6oHiSV7XJxEB5uHzrjpY2JdD4EIXEPqDFA9ngkQGMxsegG2RmVbFpdSl3tTLkpOMshkeWVOZSHRYmnXvgF8XDybVk96lzLfYEcwuYe+3Xd3w0OmVbuSICIsBU6aIOv7y/o4YGcFMoTGTKeCZZTRt/ZyzNEQq/F5P4gsYnLzPt8+4zC35heGepDTg+vz09xIj9d2CqvAJGG66b1Jy0iiixrmYh9gD5UyeL/olEKW94gvEdzQL4ZHMRqjXnCfINfok4r77IHsh5Uz+sOmHxOl4mXP+WUFZ4Wy7wAR6/vIRH7cQMX/2bNak5ZKLM3c3fNDQgywCQi/8I49c182DW9gpnWONIgpAZEIOsKpfBOaHYcbSladXLB5FUcGNLM9B5R1n6xZCiPE5WlcZAHWgpGFXSRv7qLZ3lxI2+OCOIYrx3unVCDUiLlmlgZxuI6oHR9/9auDBfTeeIYgEqNyiV0TO1bWRQQlWLHSzFYLwAqILrAfZ4qrOuiJB13+iLa6wMy9rFHinhDY6+12Xm3lhJ7BHc/BORaOA6F2/Nl7Z9jyAz78UHZkNEb4DtZ2TAztIXYP9Rr/LD6sYqv1sP4AubH/FyblWPfofMEJttUxHSbLw9bV9+nCEF8TmtGPOznQIf6HMFHrwC6EXG/Ja5yQSZQGpvV0DTblJz1DgvQsq38pEqxZDGlOLLwZ7YYRki7Ew8DHiDtRdqJmhK27zZHh8un7WegTl6PyzjQbLG70SUrXecTSpc7oWbjNLueZlbK0cadt8htxaSvA2n+B3kMMWCY0bOFMiKq4qpKV3RL4cRdZgFXGiDHwIE+lIEcByyWuWolxJGvcVqHu2FKopE3kA9BbNvchnA/cWYWSrXl1a/q0//IXI8XhEVOqnIoEkjWh1qBVH9Kf+TOpwKeS46cJGM8zRxc17eHGVZphCjmlZ5oYHz5fEt3Vf6+uAFRrMjBTb+D++mz+DqfSMQbYlcqbyIbc5nQllx53Pv9H/6K5umAI27V7yW86fYQT7n7oAH3iNEKI3aVH8JDZLZl4x9hPf3NzFeBKAzmBbSbbmt3DgW7MVtGOIbUAJJmaanWCN1DbFIkq3mEC+xTcCDD06A++NIyo85ZDgjGmYIAlu2EjA7ePl3T7Lv365DfSaGCabbbACLYRfmGI+q99wtReQWqWF0gldlnC5x3p+Tx3Du5uJloDGfZyFDqtKIpy3agU3+bNTQbg8xFpZtWi7sr5kTOlAtexl+XBq6BSi4dcALzMHiyA0La6Pue0aBo1pEXUB3xcNI1seteBuN4lU9BPTZZEYlM7tLQTv4Rkuh4DzfPjld4JoFNu370ia/7t2ZOJ9Z5T4Sg05fNBXwI+J6rRjiWKIUDwciqU6EvY7g8t5+OU4MTrPQxSELTYXwTdVLfyhz/R67dLNaCJZg2LY4wZAejgjtToqvfxBKfzwuB1M9Fse6E4GWX2JwGp3S1zJ9BokHV+XLJI2CnoCyCetNvQAsd9312WeFU9XDdCQF9QHIF5kQFKOWJT7akBHHst9ddHHj1ksO9cGlHBbdpMMvthy54NprQdcdN/pfwiKvsNgJ+iuCzPd443yfChhwj5M/mjj+tj3Ve/f6J1V/ALGlVY8scwcZKAXOPNeuZsGj3LkX/2oQe6m6bcV/AN5XfZCXqXAZqf5rKaAJvEqVd5ztK/ktmeNQWmidJk0bjD5D2TDRu/jO6v5I5RNkQshzSTsN9WPtE0R+ytRQ084GbXJj3H+u5uq8GJYng8rUQCUxXZ2yugJgN9QcQ5QGGTtihLkPrV52O7xXbby3/4zNLRcMii1l3Z47iWlDuSu5qjOxV+W/rJBIyk0dKo7a2QQRK12U5P8mopoJZpop+d5KFYGagwGvt+xgWi+MjNfBw8SYMh3HLXADEJ+7vcpheewLKiHrAoOYU+K740FKy7WZ/q0ZMk7BJmZshGSK8JdmQbBSl7/C9KgWCpIM2K0RZ+UmLgT5sQxVJcNGw+zI93CDKOveyduYyTpUcmz6gJ2TBDkQuZajemUh5Tx56prVXgvfTour4Xabywh3D287wVR8HcCdKE+pL8BVgMGBkWXdvWbd16Z09kOjgDtiYUjd1I+LBnc2d8qBTcQnb7IwUGkGfgN87D1WMrgz+JOckTQeq+NvS2lc4HkY5XC6+EwOcKeTPYFaMWCaUog/svwbfRntaBHD2fc+I3/nTPfzEgl5ROYBtj4b/IPOHaMWZEoQrXnZw6KOkEA7WvH55uE+YEXi0dZ54n2CuRsynrTiiCBKwGNQ3eHi7cCDIJVC/0POxtQot7qGyIwLrn/0ZPjCKeGKvMRSpAziad8a/5FHVDC2Ly8ouU8Mqpu5fS2qpJ7Zmj702fyotBNGYTVWnYnYZY6uFOD8zUE0U9e2DPbY6Yz64To0kqcDYCvIDGcOmhh/goRoT0wNkG2WH1Ukpc5Qs+Lt/K4Cxj5gTvFAecYmMDyO7dV5L9rvJ6/IaIudP137YDJovO9Vd68eQ7h7BVjsiTX8RC9F5bFT8v6KBKdg5DxZo1G/iXnufzvwhhJ0PePuSJbMe2C+sLfESlbOHMYx5JxJbDLHm5GkA1LycijlzXQr+wm+AvWG2tG2gHfHgosdvU8QciW4WzKi0Hw5b6j0a8O04nbAO/pZThuG479CED9uyYCVtT4XTUW60YsdpaWRUChjbmf4nheNsGlfBQcDPf0wA3ujPLkDaSEippKWDLzPk66SuimP6HcP+UAlLy02rTPevxNgPDc+BaFZciuA65EPk0vcGusTgCnL0d7EWEnfCQIIAGw2v3E2WhUBNVEZli0voGpo4PtX+uhFL3/njKxpEvq8w3grhqNrrRXPM7qxKsxCfVfWZldcJC2DKfi/VOs0FGl/rgqaHaQOjyLcZFGFr27C/9eBXsTik8q48UlVfjbeyR9HSundCysrMA+YtW3loXBBTuKQSZmtt+5+0dVWnJBr9K+lMeLzOXiQExf2mNjMVjKABfUl9KsE2JHm6GnfPOYJ+sZRywjQrU6ZDgHVW4oEYvkQiEyOS6I87oXJBzPkWqYvbJXMVu9zmUKHdzRzRSO95cYOQngn1dW5wGi2QPmK2nuZsjwx3zgqjtuNlUjAcVN+TsOPLof+APozE4ttaF3NuWtW/YpA/9Hd7Lke+7hu7Xq9XTXutiV4MDoEySKJ919A7ffiFjIeSkrpEgFNr10x+3kFJzaL+ToMlMcqsyQOZWyBpGe6M/BOoMZV04Xkge6EkdHl+NUR2akLfYCunbGrWZ0DirGSpBiOgaKZR7MIwJmyiMm8jSrFwiidzCMNr0JnpbXSeQ1QtEQEM1+1Abx9rV1yBqyDQEb1K7CKq4+O0z3nhbGfPV7vBG5tLQGfNRy2TaWCUC2FBn4CCDATkwKVhpP+LQxxHkML88NTtGp+d+raf53i9LtHfukey8KsqWr4OY0h1vdA0r23+k9n+a1KPwkV0TpS8Ho2aOoiGTRIJeYQUIySP1fGsqK4myuLmk+KglTGhp9wpnTIoDcvr3IzQUxYqhZODDEeI+hd9odCE9+a+E1JLYklOOIDNBibUM56tpWq5EsOj8tNSyUClBarkan+dBs/kzUyziwIdu0ZLPG5qMT8X/n+emrTzOuqYuE9BHSyF/hiSCV6jAcr1U++98WRJg1v2oSGG1gzusN/ndV2AnOfg3zKcqDpM79TWi4mhkQhLhiw0YqYR0emjn0JKMmGQJAQzgP8+IToDMkjF0YZ3vSwnKzGjoINIl/fwPNVAhO3Ih2IXEgIntbP1qEkEyfh1eR/R3l04CbPn1hbQwPYnvpRDplvhjrOXicMhA41m8UYil7nFp4OCL3LOYzo7LvRKY0aOKALyX6PpGiqOEMFXjf1dumm+KtYzuSbpLJUiTHN0/rpITkapgyim+lOM5R3PM4hSuH0J4HBVbX7lbn21BvswFX01qGPu8LA48VsqbjGz1MK+dFcOdxVba9XIrqHDl9sKpBAgy/mY9zy9br1PuLpT5jU7e1OHJI4v4d1FyiHLIJpvGTb1eTNHOVehTaDttVT2cGwXEmxZkrGPWUmH6NX6aVBJqLJ+i6T9E0VkM1Jueiu8Psmz8vgAbF18GtGMcOQ/9FAOZ4qXDdPu0UnytRLziUdxvFWeaAFd7GdgLSsb6ZOnbUMs40FRnT+pH1nxcS7m2RV9IKjvmZDPSxcA+r2PvPnYV4nSlY2tL+Lnx9JT+qaCC8NqMBq5wqhd8Bf9Kao2Xsaco3aAEoiOOSkhh918i9Gkqj0rShII/5wf23YYF1Q58N/7p0BABKhSIX5dEQWZLZ3l6keVDdSqw5ewmwohDqav5AwRL/8QQiK/AeoGxPtzZ/xh73W3ZNYp6pMiu6IaHQQ4F+YXteikx7H6fkt5gXcuHyHxku3NlUkHvjdT4F5vW5oVi1o7QllPvDr//vyJfNBUPS88NwLnWL21s7Vuw3N1PcM9nCqjapvHUiiYheUC0SU+c0cDKErWegZw5CSuumLGXdcb9/QWuyKSzBD9g22Ti8XbdLI4WStMlzaOsdJLOryO1b5z0ljafrPGEgarQfj9m0Kd/beUiyQH9bXTT57Kt+uFf1LAla6tiuRueEr8Wj9wlOOYcbUzPmNgwrif/QuPdjjtD4h6gpzDDdtlqPbT7r63TBOMkjI2NhpHI3dUKy4FcoxLZohC8a/+8MOT3o66ahsgA6rtqJcA/5bFckvDFwAFeg3x866dOwNdOkrj9IJhbh8kOrpsdTOHHgAmgmrB8ee3ot9lISWEqbo4e4E0jU9YwxHy4xSJdmHrS92jWCgZ60UiRMRHBgJvBcZioXjC+b6WhE+cGw0ObWUAIo7eMBCVCj44DrzqivsXcqhkf0qkWHT1YUES/azYmY1oChgKdg/8ypRUUOXvSz/XoeiThJdeyz6Dm5zTe27PySX4i9b1VIYwBfZNLhE7vd5B56ML3ZRzkJxP9ptAySZqsSzw9mWqnPOLeaPl4nzhD96fpp7gNS+n+Z35d0KwDeGVzGithNrA3wqqWpfjLWg5wqtLD8/tVzR7fBB/W+jovtKCbxVnQ87P4QAu/7BdDbaudSkwaEWR8RjuioYRrOxGzFzvP5uPxFp3TGQUKR2pfn2NYu/TZI2pJKxcOFOr7FLq2SaYpCkrKLPe6LV5T52lTUxo8SdUq3mo58qIeI0ybeWOYyVAxq4xSGFRDb3QxUvvKollslFDWmJhWDRD7/hgNiGj4dzwAhaQUVcPtWF6wZXfByqZt1gtyEnMNaPpavH5YkW8kn61zBcCIgXbY7+lvqEUiQnPGjOk/iceKj1dvByx49/1JGJRjUsrhPSYg0KOFiwrKtSOKaAp9SV+zof3XyoTHLrv42W9mC901Ank29uRoOrZKg03JuDILL/oSzxkhpgtXmgslGY3VmCRPAU4UfbNNyZnbeWYHZP/e0E/GrjQVLA1mcI9t4bb8Z71EL+3NtM2NrEHJjaa6lqO1El0WX9MRuzrjEQgRiN3dw71PrQMGFOLlg0EweiHPLzDeaRWYreQybK0hVNmj9U9vYsva1CuzPqq2LOCHXIIbjTXUeSQvVXySYmL98hjVWwYic2kiSR+rRZAnk+xXJXlnvkYiqqRq87nWT8ELSb3dIJJD6NmaAQUroRWHmTe7GYxeKKfU2T0u1dakGk0/ytiklSVmM/muynHCp5Ry1TvvACBcvgjkTUGOMs5SpJC1MTqBpAgCTdPwkH1v6nLp3gqqtU6b1rAdhKNQjWKsiNUgS+cawiYtThCGYhZpPJ8uWbDJwCVoJH9QyRmgesm8iR34UzNahWy+XKC4TE4UqsTnUSPGHFWpnGrFh4ZO7VQHLmd1NOT3Z8KOl4xDO+PrrcgWYL6PR9sUVOCKtVWGRw9PZI0/sPgy1GQB3lSLaPlCd6/6n4wnNl2LTbcbDTWf0/qkBhD3TlyARL8nG1QBNrRM2d79+Lxr3mZBddBJ9MFTV5PmXm8OTvh2MDt2qPzPPQoA6q80220JAaKqcX2Pnp/RADcJOuIqtYuy5n6XC15yr8JgU+5E0A2+sOGBs8DJsUiTPPh78uSMEw2w53A7Ha7nTgL51r2IxSklDbQ9wpJcaZ9lrIM5UcxMyoprcmo7FC3CTYibcZKGmdiPpQlO4RJrOFHUIjz5m+8TWetSNMhECokxAphZ0URcZo2iYtyMXHpe9aKnSToPgbi6qOOP4tTl4RI46jFg37cARqbcL2Kf1IQqrd4iA6WZEdzkjncWAkFJp6LBPPHEIzAEQb+MoHK751+ect7tD1Xg2PQvQ2aEZ0E2jSGRTLENaAXwdzitphYPmUZ/ogQldv5Rm92Ru2yNzuKaI1aWBVmfS1O/c+44rr7RmpV5jpO3dQ4oScpgVVX0AY/BpXtImHvqcWVFm82MYvWcmTWdz7Iav6xN0SUl5ImAM8BQj94GEuvBkXh8zrz8tzUW2JpZKyr5Q20oAtPKUPVHmyYnVR7eXtWyxaZSeanqKwZWvB2wr4arkOvN7yhf7a/jYGTrMifSQKN4sAAr+jJaLhZMzPDoPpN/PZ33pYy0To2NbskFX3n75SBeuyOtO9ZEXYwx4sAIHs7446GLw2wVx8m5BiuNSLrovYdnBJHYan4+Nq0WbHMZ4ZTld8ZzN43U0DcJS9nW8Si821E97KSIfaUZuMoYG+xW07/6eBrgqE4am9dLEAYWEWDdUGKOfnfzd1gmX5Fq6k9IRb0vB9EGTa94wjOzfMT2sa/KQo52gsCzbqkI0NvD1Qdc56yqsD8bbAiyq76YNMzCLfZea9zGahp7KqJb6Em0+coYJHHIU7JfDeu05J8am+e3kiNiOeGhxENFScA6bcfMKs3IlAGHIj/LXrnGOD9m5k3NgWDKCj3rhMq+XqB2KL91HQkMuUxKH7xcJlWCHrkN2Th28CjGRYDqv3XPRcbZi2oPmzf3+/wQA/6E41vBMaurmQTBj7f6PsS0qywJZZns9RX8RUsxIRVyRriQ5byTwGkQak1bs5RVLR6ilUW/VQ2Zfg8vhi4dVisfVIjfxhw89tJ33vnOEoJF1qCXHRIybnja3bZpoMYGe8u/58aSBKAd0bQsZOVYNFfsh/VrnRL0eUtmvjAJRo1NNknLovK9ZeJG3VxVLAD5g/BoXkFV64HKY4N0svCqjMhsESWuDeOqs9loZUDQKolcp3qHLkuwOq1myotZ0FlJfEZ/uQaR7pdOmLy7aCOqYLzSTjM8lCykeQbTogE+nLZwiGbsuB2O4ZGf8cdRTHtfETlLieHbXSqTWx5tZKOIPgaY58fnRKsyQpnN4v2BLYrQjzAn12OULGYNTvPoMEkdVEiY7dAb048b9/lDoe8kq+6AEOybsk2EGjAICyt1IFasYDJMOiNPDVqS1x2qn2XsRqsURy70x1EG/3s/ffjetQZaeVTQGKuJaYoespgUOmfPLC4ccMG0rX7DvcxaiyW1xvdox9HdGNrLYipUYd4Lt/9pBh1p3m6exNoaMVBTayW+yWInUhJ/no1dr3WFkxD1wEKTP28rEb/WY9qqF3AUPhuF2JQ3KRX91xBRQ0FZ8siiG6+P/DC0tgHZT+73761nHJlgpHL+CLsN0LA/vRUKJnopa++qmeqSu3T9zX6ZcII2jsDWYKbElPT3BBtlu0nErXYUHToJW3U3iMm2Q9F1xW+bV/PtnetMHgts+jXdDeucyUa1ChTyn1cIm7V1hap6EzRFlN469SIPrH3qmN5IZw4wDQhtt+FNzM5d5fur3akkDcgw+ZkyuqD4ihXzJ9QlspdN9o1QoNspO2ajZqJ5LR/bPUrmFnTgLR9m58U1SvM2q8osgtYiFcgso1iHXIC/n82pibIsf719SR5h9PPkzYrY5eTNet3ZyYGhERD1doZkqsbNLFzcAzGvxmEioDM0VjuPuKA0U7UzIF6XdxLpI1dAHMWexni0HEWnC0dzq9Ciw+dj3a0pW3V+8ZOfQF4MMCKeOzNuSF23gq/cqkBKNvIYDART/d8h9D3FghNIYhSimtIOseJqzXHFWDJ9BX6adcKnrISje4OJyxD6Ku8pG8HUR5DqpFdyxM0MLIqLAvC2D7TQp2t0Fs8sQYv1NG3px8rLlQwnhz2xRKBQrSmjle76clzRAI7QeRI9+aKGplMXJKU/ojjIlR+a3a2OaAog8jRDbrUrk73TsDw51MXn15xcyZ132sZV8c2s4Pbuk0qMKN43xA0QiJ4TuzGiojmmoRX1Ga3AwERCd6CptelwYcsuW3/qr9X7XnclP1YxwsemAGV9l5nn7rC+RFVFBSndnM4y96kJqHAriMqJc50oHFnVieDi+dyWfDa/WmZOcBWdkgy5xfa5mvh0C7L2vjpxAH2yfEhDs896/RSbpErZNGg9ADUWqG/JLmDlkhcg2XVZdg13TiMrhQftpS+fAWIw9s33i6i5vqsqua910Gf1IhsV0V02l2MhzrPEonjGKUwIBa6cGNeW9XX3UJQ55+T0PZuW5miUVdFAUNGl/0IaV/PLRw0VGB/pvOZijS9xVdPmpNGLVDEPs3Su/Hd4F+iDLxyxDN5pZRMxxQZt4KrCnz9JSa0ainLDNprkbYXPT4jz9RBwS3aZLZqD/vV/rJOPAtEj4uv0H/mm71qpP+uB1DCooo2gujcukw9dtZDz6XMMvjSOsv57inXkfE5rwr7oF9FChJq4SiSlOWI33Pn8RoTCoWG3a0NOVqpQbTFE2vQ0zLH0tJhPstJmgV9mzwplPmqKWfN1JBMFrPp2q0zssQoxS+6YGboyKg2MhiUKJ6CXz7N6aBoqFqwcVzSoHsnSGwu7A3bVUApvoRcolgnu/txKZQLeLqzoENLxF8dfQRTfaRUbEE2HtBtHbQ/rHWnAkZWYxvTN+H8R5/g3aN6Nkcvg19D8VmY1bYOuiUpYnEgm/cMUH/6ffZrVwU6GM0skN0zg7jx8bcuPnweg/aFAcx60KpsCJhzbEdvhOXUrhw6+5u+MlCyfXV8Wy6JA4/szR1MwffSBu5DhY6cLmShYV9ApiZgQmOFBpTgg9HvSlEaLY7ylw+Z/kIy5pmmmWOoxeh4fJdaeO2g9kev02JVIdvf3Zss61esdNDP1Inu6xw10d+ZTtau8i1oI3WoqK3+eRuL8Ubi2dT8pw0Hf/XInGQJr4R5f5FsTV4dyYFhlFgleLghcyJ3r65Frecf9Y9FrLxd0fXs8jufXGK9N97fcIfGYXOLu2kh3fXh+1x+Us8TtDZFtcqLAbmDiZMCHFiSEuGJs6AfkirjJ4fFVKqjBlCS/zoljOjkpz8/CeCv4U4z5fYEEWIBXN3r1bufONeLRebShjZ4GBmFwsUdDCkCKAnXfV7CataboYGYz+41CwG9TudgnaCR725kxXfFmrzNcN4KaO5D9U4no6XlGna9o16b7IKg/9tTXF0rSk2C+4ZqFDWUQbgKKg6yhDgWgV61cVFkyYNPyuZUqsYX5dKngoMUGdN2O9pRVnkOS6uxcI06UJqDvNuvsC2xo65m8js04mK19oPY7Z+GTlrOtJFyyfqc/Mqaw0fBXGZw6MVUlVUS93r0EjerBB5J8ts++sKFpUeOCBujkn49w8y6hXG4RAKjcHFU6s88GTntpGVkwR0Qn5UFT6cPCsa6j9j1x4M0UDSUMCKLSEDKh/OcA+SoK+iYdamMYPqiOVYM6u/fJPYSMEwXK2BZn2CL09JamLquGUXBOfB9V5+LlARh+EpxLjQN515eK4rLBLE/1yYd2jaEz2jEvoi0a0u0HTvfzI3ZM2jJ1mO3Bsz83pEIcwQXR+Ut443Z1qg6OSa0tEj7WkoaGgdcIKDlzy9F/oFeDAeyaglSAUwpxXU88PSsPgw9R/McumPjKQbJbCmrWc2suzvuUOHkLNAVSilmjKmIDr4GnRbUhhN+0fEZkowOD1ZO9VICfP1oFM8VIko7/DstepXEALYJNmNb9z2pQcJ2V0vHLlFrezhBKwSYMNo9Pe9awd0AskdzpzTzO89UtAN/ELIqfF46vBEWYFDkvg58LwqmwDCNrOJjIa7xTBnb4eHQ8pG2u6Za2f0XXZOTmKBbXeV6zs+pW4yPvG5gHE99WkAwai57nAxPrRnWPdsm6RMIzGsUqETp3hakPIoLASziUhjrHdTxfiNPR28JtVhArZJUlWdoRVGo1PymkkUfBiMo54kh9982M/PdQOQuKXTsTRH1FrLkesSF2+278YzTtnzF5Nnpb/oX8y5P4CCYxvXChak3ZRvjO6WADvTLzFRNP5QGwWoOxfZQPEOLIvlMAm47glWLsWVKIvbVaSln7Pc/6Xc94T2ampzbF8/4CVPVzoBvVQOnYQfSCxkbp1slr+ZNKvPtVrWMHfz+np4+kaihZEaQ5ifpKg4cRIOPvYZeIX76UzlG8P92ZI6jRL2kDIr8bB1bLSHx1wA65os+ZzQPGVIuFIz2G4/52Gqf73OZFis5QClA80smnn/VvFc5neQw9RPquDmB3Dg6XZIwuXEIZTcyJ9X/mkXFJDU7AQVPLjTikAiw/BLP69zhwH1vadeGQxxSauhhe9mwuh8FA2RHyURdmQ4uR7PKdbgf56NrIjwa1T79MwaHLkFtpQDf9E9poYF1W5kDKAOw14Jn80R0mwMTDvWqkcRk9ZE5PpYIkFew+MGEVVzOLUAgVAJJXvZoEV3plNQCyTBq73I44WBtM4SOBLcI+z+ceDZ7aYMFGhKV27XNuriUV/78Go5KcQGC3HlBWDWq4tCcuAbgXVm0r3XGHeS4gl4i3O/IjO56pP1JNIZhKuci0saxN0CFL7HCOn6JMU13rUfoQ197yOLW7H5uNZEJ8ENo6FMSXatnk2ZkoA6FQ11A4FGK2q8UNyb6I51Yr6wcY5DpQiB0e5jhbvgWQ1lesLYVS7KAOwRZf3deYzcosGYVqZCeE37Zx+hPIlhpUPCQN5KZhCxML6oHWTHJGLy4h32PHQJRvTkyDf2T22cwKUDbxVtgsnFH0yRiJuJ68pO2ubv0O00jEpgixmZHEb/Cowl9tDiaW6kwnHjSht6O/L3R3XgQ1Nb3S22O7xJndPRg/xgHYB653XvAPKCDcdh9P0dgKn3LCKRrXq+AfMpqISfFNz4GN0tsotMmU1MxI4A8wYwGVK0k5b6ZMPtPytvHJBxJ6F35Eew0vdpsuVFSNQgj7AwFDbi1eHxXE7RaN8VcnneekLwY19yoiIIKmE9un6nosqIdc5OtxyvW3JQhW4QYIqxN6GWhdGb8Eeq2FnFuW/nn05pKwT7WlNd0y2bwRY7HQJQiCrWJQf9wmEJOzyEj9nnT8TX1rYFWeZXHNWSTMqI5Hcf65ZtVECL+1EP2/GUn05KG001aDcqhBVPj1+xltKemjJeBtMzd3Cp86UKwwXxL0Ok+Zb9kb4THmABY2WlUFppfkYTWycPTlq2FnFAMKdzqO6Kh8/80XvNYWu9AEENQEGdrHfj98lTZFql2VZGBDb8bltSBhfkgnKgTu25UzHadDBSmzwzDhsK5r7S8nB4bz66COwybk/41+rKpREB7dR0l/ydJnQi2IRT72Qg1xh2iRqQBYFvCTSpGgienmkgDYq804AsQRJbQATVcLbcwAM+h5PmSBj7NCaPcWhfLotufFwwZWmI0hmqfX9Jy5sWKmnkgjmcrz0xbJrlHxMI8wY2Bved7rgL1oKZ2SGAitZcYbaaS8V9vnV2snomsau93t0NNVdjXFt6jcZXJ2UvV3a0bxXazpcH06wW0mnENHxnQKyPJdeADvOCTgVwR1IH/46s4+pBk0huVuV6szADx1kPCvnTx5iFAeOa62Fl/n5d28BURppejcDaoBATdr6gZh9IdWfRwf0QLQ1F8ImHoIPXUxrJf8Se2bsevPX/ekjPpSVr/VOQsXpz3mPLWHVILZocLLxVwdcizH/hq/dy7bqNF71MdXkgWUgnI5t2BgbaXI7DzkEL7XpnIQ5LInoo7aQ13t7KHVlnvmR9LNqKeTyU3HQ+5geGongpq0SOV/ikRwYF+JNx0nuwva8laeX+BFVzuQou0zmeyQF2LCkpAYFIePZG5SOFGiD3woz5w1MMDlqmATgVmgCmCLdo/mwQ9Ygcjps9a3qgrhBz4P/DJ4zl8XZ+/fQus6eVCnftNz+dlpcqGZCSmjyQ2Rjo67lwfEZsTZKJAFdVMLZ6SlVXV0CkRjcZSHeSTjiW4KrguPyy1p6b2EmiDH//fr8W7SYMI2+nXaqS1Kke3xVaxrqVPobPGoSm5ZDMBADG0ey8Mv5E/PX5o6cby0sLR995NX1Sq4WFUDUEE9IcDx4sO9+PcSw3RLQIfbmk0nxuErAFLnlDJl0SiuVMg4BPLzeyIzshmXRcb5WbSXhy+HT1oafS2OzVF4+4U4W5I4NWbQZSXnzYWIhiccMTv5F9MBnYerm0v/xTYanG7NY2rEGpWuA2Qgd4mLsiOD/WkopScopPplwbwEj0JXAittLnEICH2oWehdmJ+WLNR02OrXIRJKkv9I5FD2ioTUUMY9JCDuBT84N/600eULU2e5tUQBxcmHtEntsr7T91I+xeYwW++7fvjEtAJ+Z1yZej1aPbBDj1f6xOl043rYtF8ffjZzBFOYONRMawlsUNaLGgE4IADZg6yXiXm4j7jZXdJxTFa6hX3iesRawne6bILvoT84u+SB0qxP7YuVKWlynl+rQPm991tTzxO8rJ9d5q3Ol6CmjZAuSLaL5lnpomNfrKmQZHUynoIwcQq3r3wOsNpCv/IwJTUB9sqfOmQTYJizY1OU0mpC2z3jkxjdzIzSZgOb5jwCQxlsTvNF4ke3gCsgN5/6PwiDxbEoRzYEO8joNny/W8XqfB5CHiTeVcb+o4XwqIDvVIVBXtT+LMGVgQj2VL4gJ94GdJQhVc+sQ+mRBTENagNGJrk5PslUqtdQKwLHG1UQljDrJmM1XKB3hDQb+YvGPi28p9M/d/Q7uKghliVggH1masg9fKV/mUoRAyFQVcH0bPabdlvl7ckRLPO+rMc3TGGZm2fAN45QuYSBcRyGCGq1qWIeqTVtg/XiNjrBMffOaJWDbQplWN3p/JTo/cnnK7hIE0Kt/4y7+LSTMR5MIfg21CIyEoSsW07W02QCUOxy84Ka7II4alEkrUUUnulU7zctKb4EkKjddZgqWKz9/cLIQuJHk2hL8hdXmnT5yUCbURSeJE9hjJDNm/SX4kcjJtbSZsq7PL7x3ahTQfUFrbgz33otxCONWkvVlDvFCAeCQ+f5jkizt22XxQVXsMwpaOUii1kSOO3Ac5tXdRVqvBdLOllYuHKVyM6SCZHOgvgNOLfGS/HGRp3gU+811BKZuHduffWZ0YAAGZI2H2yomfg3gBe/aSCJM8UzMsfDs/ie/NqByzGeXgnfkSM0DJnWRNlCkjXhWoNcw3maWK4jXS/X3OTOy/dBzw0nTbAmRGhx5fWtsYgvhaXLoYOXajFDuLlmc5vLYiAjqCPUduvNyiJrnZw+jR+viHZIQJmTSepObLZkpEs8cONalQpTXwXUYo2gQjKCh0H97hNmuKqeK85KYHD5WoTg1FejlDtQPu6K1tdPsn+vVK7aVJlqXxmZCyOK4/MJbkczjKOhQS/hPiMG5O0+39W2CzTRp4EecBPmzrvEYelQZAZoqILyd4egey4CJutjsU3TUNiC/aQXeiEC5q2H2+xMfctulf/toJZiEFqFy9KE/RqQtJfni9M/qmM5Xnx2MVVrOcL8/BZ30RP+Lv18BSPmew+dhwSj4an7EJyI9vBuRlmfdYsAW2wkgihQz1uOKgZ6rVdqNcTYK/8Ywm4GMiQQ9O8KHPAAqiFRpgabH5lQ7QeVWzTgY3GAaDFtgCjWEI72+1KDAdtRyBGU+TKPmIezmNQTVEd40uIz9kEOeHDmfJhJYR0wTNkOFT2E36ZzIhcxN3npI+5O4uGQ0vP7a9fSQ6MQ9fSQZaUvksaoftsHL0V8oT9T15/3gXbO1r5XEUA/7Jw5RgMdtYpLq37/4HSupPes/WzsS5iXtl2hsS7d+mv/FKLyt0yHH6IXKuDfCxUjV5+XIu0fI317fv1SLpDq+xGLzoMuv2UxX3VgEnKNmiyVRcLM3SpabRzFxD0pckpOz37lkUtmcWE9NBntIM6uQ39T8zJIbuzgc1kIUJLLFdiRyRT/qw/7eGIjQy7oJ3bwHSdQhtYkcpMB/l+7y9AiNag5XXlCV6g6NEMbUbttZQWKYgqn4WxON+qLw4I4UvOmWreMflKK5RezD7w2u2jpDoJmH5JeGP0cNfYZvCH/0QvKyy2W/CiaB1wKMTedwkcfR6tc5H1VFqOQOXjxRt0LP6/7VNc1x5hApO8DllYZ5Y9UQlsck4K/7hRkzugEJIzA5lfNjmZvj/eGzwySQ1IF/iJ9PFHH9vbDb4TY1qa82OCe2DEP8EYIXwAyfUOitqbSMf4yLS0hMz12XzmSRIFubDymk9HuMeHRIQhgp5uNmPqIJq29SKqfMKZDUg6EcrEmrTeAiGEn4VmOiSou7Nw66WrVvJV8mKfEHR4s7bZt6wZodvOAedaUT9KXIoe2kXpx21vh4VFt16ut6SgE5Kl5BqAXgoL1vZSAyk90zoS74610YoKzIZu3x2gNmFp6X3yyLzrp+zu9yW5rR3xR94ElE4KlgfeGsUXdNeU5cSU9mpI26gHscM94owI4J8yHj6OVGGN8W29l8MCk5SLOdpLhNypxXB/TaWz11I88ebq+QkbEygc+QmOWGop+y6xJkEnmmWprEkUpdcR+wFTpZpbtSzSBovehCRTjKnledjBadYqh8jrjO8ZVVX70RRl3q4QnWhHmCJL+NgVV/nRc02SAOeNZCxZjrVGKVU0LrZ8TqXBU8rK4TI84jrab0ddcNbktJrLfCP3B5Wj5epmLwl/eeDnTX68rlg1EVzIQQRO3XP9uvWZFLl9VdTkhTN0RA3NBbXS9k9sIJCvq9j2vC+/ae/799L/eBEZeeanj13fwDn1LY+ff9TJUBnMV2+gz7U5A37XKHgLnWfSBjxUjE1n+t7LV1WWkRceEnU0nCHWup+HGg23xsdBoB1RqDYENps2PDlpcIupI/sj2CoYPjKR9R4Jra40a1W3fG7AVfOybyqLlOKppdQSMVlaYUfco4lPVjdTMs3tFFjkoqS6OdKIE2JlAMzXNIZ3+AekS3KAVOUqLlSst4WnK1pP2kZ6LBePi+/QKMpzadyslLk5ykjUSBtqpw1rY+Sb7hMXmshe7mFcegS+bEylbdqLPAyBE7FazVBtjoUYdFsPm0r6nJsmXh7QvRjFi6R/atDvCHL1qxC+pVSwdf6IqXiTy+bM2cxGtto+1jyCu7z1+oAygSOiiuxo5mPHOqjcXq2NuqNmdvOKiyCKG9XNh6o8bKkd/VAJODxlP5u36WkAbU6rxpPKHDXhC6nW1qu6K7dfeRK0TO6LYKeBvAk0NgwPGOwk2Ehq5cevPIHBErZSnM9EQdF8v0N3ioHfv6Mjusb2NTG7hoTlALXPTo7IZRwayfGhTXTDrZxFTyv3yIFJ2eT9wOsDD1GDqoZWHGDNM6sKQ59B7M/BdPozPINZXFv5oKgxhPBN/oP8NAMxf3Tbn2S6r0/LwQ/WJorIJqjDSoY/bh0BkiEz9cktdx16Obf7ZVrOc7NT/5TlT5n+Y7hyXJodlricElrcZ8g0fdpXoDrdEgUFxGn61r9OxEgXLCzTT5IbBbWdU9FYqp0GOHN/8T92Byd5e46EyD5rohjntnp+sfuBmJ4/7LHr8bWzATIgQruDQBSVQOvM7ZBM1HDJaoLe1DuJj7rfHHA3oWlnGCrPOkL4nM/HFFvMQ+H2iRkI9BSZBVxb7mvaxoLmBWoWgWHhermvA/XCvRhrtlK5OhLSTUmioiLD5Mhr7XkoyVrpn3EtJ9m55j3bNfBfURSetBqdMF8CG9uOpMqvgVQdj3b1JFvvPzmCLTtbNR+tj/WIymp/DdjVFc6VtufgA8nnTx9XWWpef1PdSnvKP+gAnAgihamP8XCpJqrWWvjNqghOptguErPDfKlVjLmXsfgWMcRNNNO53IoD0ojzAH8EcaVGLprLkDS/rn8ZWBvdPVXpSR/VV5RZDUlR5dPZzRxeLdY8RS1/gjBK32/Kvy8PLhWC860pO0GvMm31vrVsQJhU3Fq75H9i7+h7Pwi53OrYwZHDsQWlsKpBSO7oDd/OiZ6FE8Rw3H3y6ahnlS0boFT9QG0PqikqkEJZ7uc5D3qEW9rVgg13M0o29QEZaTnkBNauYdiYy1g2bq0jn5pdH53GT8dzc+V5Y5nJnHNMIWCcFDDfR9VYiuS8a6W3t1cheEyc9eIyqUcvdwmSU+giM947KTYb59HfazEM87kwLOXrQI3iLg0srCtyBhg1ELOH+Y5VDx18De7xfupX2V4t9bDwROmhvlhrRV9JCetgTAs4oQlQ0DtXYsCrQ0wOMt9LgX1a+pbi8sW4fLletVXExqemxHGE+z19zu8XFz1G7DD/k93dFnj4cy5OHIpin7MqkSlwL05EQDtAAIaA6NQBdPQmxjgNMwSTYaoEtoADozQANTDnKbRDofVr0WkVpDiQ0R1L9yQ9bLI8BMiWajUJfCoRUF5NK4DmEVuvdopZfjXgKG/z+zQfjITNtjr4AC0jf1PZ16VPwYwBv6aYX2EliIXzURfJlUfX6L5PA6KKAde/vVoh47Cn+5X1mChoUGVBJQsJQ7zkUURb2Jnhr+wLnorzfyVsOq930Y4SCOWmnvs3aRnUbIjOuMjfs96rgt0EBDYl80H02Qt7XyTqE8yciSJQQW+lpF2BEWbRS5cgjpctGgeV3SNisJ0ONQdkhJtuzSexz9WWGcf2/rCwGhj1TmURsz8hFHnF5PFL27F3U3beR5RAx8vu1De0V7/1VuEeg6UmERTkRlLsv+MBaIoPkTShmu6BcwV3MfwR+owYnPfIN4L5WeIoOhW9LVjHCnGYBx2evQcHdMJShPShM5zm7n0J8Gp1WnLWmU5j0KxlCoq2D3Y2T1mD/gqphGdsLHKD07dtgGFddIKr0SXFkX6zDymgemlnaufF9Rqt70jVY0SvfERcjFgJiE5ChZ8GXfuqHLw3OCkcGW2ll8RC7ZJh91Cbxi7RMzhwYWNzvczbRDBdgXY5v3TYg7yaOou4sAd8yZGqMQrHFJKk/oWgmQcgrtiJXuhcAJ3CNpv4qTpwIb/rTXqOGumZtTj8rHNOLuAt2nkTHUD2m1J36v+tbTtH2tWHdlZGYiT1kW4OgF2/WUE0zhmpVJrVryAj4/+AeqpfKK+usM7Jyosw9aFAoWsVogE0nqUZOm+/RkB3LYCpvTSygqAA2IoOzZxi9AoFji1tS2dx+D85OS7CjGFUNzNfKcn+WKiHf8XHZLjMY5RkV2HyeuEahYnkmFmvWFu3NfZhyiP5MC8ZVsSfHQnQ4GuOjr2LvajZSW29SIbIDfomBACyYRsjrYr+AECarF9E5dNVdslkhjMISN6OJtX7PHJFdBvwPrc08bQIB6jRfCgH4zL1tPiL+wu7doCAxqxzIYEcI7RudPVlpxAEde9CCG13H0r1bLAHCb375xcdPMTlaj0Jz1sqyS9XNFAe7kqe0vfv2u+1OtSrURFJSUcARI3OXr57Ac4ek+TWopcj8vSi9gmYpdP482t6sSCxj4MmOhHyhH7wlOubW30MV7vYPfGuajm7PIuBkiBXbJ37aOzfL4tR3By7xzVJeb7k+9lBRf72ASwrBxutUu1eG5YpqQk/OWl9G7vHChJGrIbujlk1UtWR8nlFvECpAs7L9UC5okXHdMt5D4rDqXgM9B4GjRDbQqReC7N8h+/IWKtRydaxiX2jDFNdYqpveroA8mlgrY0uw5+EQk4lOzflvOk18wuohbJfF3TLHb34eGFKHh5SuomT6dyWHEqF1Hr7kyYMtmuJ7ZX/miEqDeUPP5y7ClWAsWKVr+q6/C3lRbNkWSNUkUOOP6RbNmY8ONMvOJAsNPXpy9nrROMYU9yaqhlFg5wChBPg6x8wk9bi8wG+pyUxN3AE/LUsfUxL6S6FDF0YDQqwP3SKcBSBM7xknvKD2wIJiuV1D82HfzVPDZyEvndBJOgOGXpf547hQQiM1BlnT7FkNNRZoHuVA6GFqKZSHpaK+03OvmcoeP92A1poBmJB/S9Yi0rV8pxICwZOSPA9fLHXIwpxeQlE0+wd+uiQCjdScW32kWsb5HWitSVGdKd8JVpfCn0ibM6IOIV/WAS/8VxBSNdmFHXwfFWeTHnPZ2EgN3Bt13E2Fu74U2+4782EDeCLg/BOlkwotgQFgZsetk0a4Ad4pyJdAbNmIfRt54dylcZyoNsz0UbNfYKPZ6bM5Xk+sVm+uJHnLSts0LYlxka/VY8Zu0AlYHrTY+70e+djW1LCr2w615SIlvD/1PCKd+h61hWMc3ANOVs69aS8haNwDLgHhmvqi4zhGlcH1xD6054LF+5x6dBkw0YEcIer4bdWXEgQICXR9L8AnLkycG2o+Qt2zgFztzazjKdKwFY7fZKJbA5OFfreCjxwiXMwBbgZgAUvM3Zs8Xdk5yayJXx4+UBF/46DjwYov1eLfM72pwao+pS8KSUNwrdrbWrinCWJOfGF3xYAB1Emg9S4XbUIaJnEl+hzBwmEtLChGLZK34Va4XcPrU2R22nn/lhaiUzY58Z4SQlaYec/RTZ+OpJ9hBCfGzxpSPNGZVBKyHcGB/64bEUQ2n2y4bdZ7qskwrqApL/qse3f1IjG5CUSuae9ugvLEC+WIPkR7W9T0M7h+9Ckkp/VY9flF4G9QEnqJTVvc6zaJSvgBDhkx64TXkjhU/XzG2p/gZP8K1AUFD6vzYyIysSQJFsOquCJ74YiJNXk48C6l8QT7aQtIiwU7x2hGzx1xFNV7iW9yVlkWHlKWoXGIcElbzSoTnN0XeCKq85KmBR2KpBfcocyLquLLYLtSQptz56nVWaIry08IolEPJ/ClKW/JQgIsxKN/4PLddSpTNlx5RI1noAPO9MTAyCWYD3thiMMOHM+SgoapfiDdxQTzznROUv13U60TbAI/O1jdvUneX/EEkDXrN9aqKNbgu41/KxtAPZFaQ/le1qnABykH2ovKAyX0QuW9g4Xax4Toc+39CKLfxR6RfPllBPUezTKi0CHlj8afUux2kiBIxNrplRxH7gGnWCdTqeazHygQ9LUWwthz++4VzQgnxMgJdwceDPEgACUFPFojxfqIKylxAE8LSEzRskLnkX2RtzDmJbI4ds3MbkgC0MKHSowII2u9MN04Rw2ZDYsxRFK3rTXCoz8hSWYyIsegHqTYv+pf2dihdtV9ZhrXoD8FeJaYiHtSzjXcWDssle7mL8VcjuDw8XN47B/lqwZlc8piRSuqN3bhFVljzqjyuemlZsy6JDIwggF7BXkOQRpr0jQSOMFeQ5iUCncodvSaGP3auI0IFiLpP8Qu+/+FT61ypHjqAWbtjnCQxzSSg4mRnBf8iNj0t/yLlu+DhWt3ktGOdngf/k0hpD6h4yql845voC2WAnN4xLyPaxyJqYCpDjS4bLhL6FYdXbbThMFKiaPJ48KunyOGLduwRboJ2lKs+4X6zXCq26NBK9Fuyyn0ybCJV9Lv5b8+lV+hVbvRYvmqVLunJ7kYEb1RSBMFlr/BgojCYBLAtU85i0bHIDewCL9dRMs97D0FNOpcddhhMLBKhFhFpNS1ZySRayhIQYtgyz1+oC2H7RbkgbhmrIgh6ZEboC9jVTiF7Vk1UOB4Ohoh1iFwM1bJijg9EjBVBSz+J9WDoq96gSTOr81lNx7/8N0bfeh3jOaRbnjLsTX2E4U9Gl6MwuAeUfo3WDD/TmQJqcJN32x44qDU66HWqKxQn8M2rawaX95hAgXdaeNAcN3tAvPKuEaFWcrjF510q/u01WRwBFCfnjjvz8pPCNZT6KSwt3x5lNlUOuoCOXBrSS2CwO1O0QBV+fwjoky7gwWX4VzkQeABfH2zud3bRVAiAhS3ykBn3A7ZpMRnEYTiDMCKwnqBN5bqyU6HqXOgTwtFMLS5U988gR4UmVSiSEJ9e5kvuWmZ7UBaJkBz7wOy1pAf74Qzwp8hjdhvh94v3ZI3YIvDqIiemc85cW4EyC3hFD7Zdeu6+jd/upQmXysHUGN4XF3gRbXdumhg8qbZ64I3yMPgoMLSVmUWI3ghdtw7p9Cx8SWV+nJhnKUWnswya7myinoXnjxXdS8wVMXq/sttVBn35f06WkBT014intObcOPADeripBxAQl1Nq8uNBnB8Pt+caYyXh2MZuxbatpNBvxorHOWPax3fdaSPSfykAAh1o/O4NRmGdejQM3JdIGD2I1rK6tuz4w20ZM863DuC2yKgkjV5CppY8q8Fq3gaR3Me3+p8oGx4U6waQHqiPXs7QpKV4B0C4XYj1OBDPBGs/qdf+EqKQ7OYYVMRlbwJO0vx0YXyjtHMART1yOXNV9Eef80kG95oTsP1qdcG/wcYvzlFp8t/xpxkiwBwlFcQveCiJf0xKDqEHF8llXQzHO4ib1WroQciEzyE3a/Kmp55Auwd4rOd6UxEzQydNj8g0cZrTKCwvDhDdHPCZNwnY1IpGWUunIQ8PWJntL4DuPJW8EWyUfkw1df8JbqVFGhblst9cUDM4xOd0N70ELzW/kN+iZh9J4zUXFcaZxMsVeqDJ6hzMFDOo3gywHmGRw4bc2msraNZf3u3g1cyhG+PWYBZamxlcp6RbJeArOpBY6Q6I71wK87eQlqjQQ2VQ5j+TB2g79uDfzz3wG8nZzmixnVr6+XLox6M/P9dWPhBIXAys8JYpmMKVTPWIjvPCfLfoQzfMkfVT91bFwtRyW60PNfiVucO8SQD7EJElEihboKCjpNK3HXkM2tupVjq3jTYn9E+5fMZNUoTWG3hWAUhM2T63/ZK3oEctQ5qRmA+zpq26yuarG/Me+iuKKrSyvI9MAPtNv24VgqpEnzBYvHK6whS5cdnuQcS377IdEx6TDjnpRc9bv5By+oXJYuUbhgVTeSk2nhoO8hgCnm3qgrGMWjSDBz1AvFu5zkQ46homzv2XEXrXfZJDbzA6CVuGHO64sUeyTNjAPgRFoYe4jEVplh4s8HBd7z17X3D6UQPJUvhgFYG2cRoWbk8fGL1lpO04t9v8XW1TsGVBUPVnDCPPvYXphW84FKLMeLzG2VZoYoRnkzyKAQOh7szehKdBJHW9xAXeih1ZyGUDRCWkRXwAA/7pqCXS6auWN72n3rUiXmVxq+8HNgZxqAjFR5ff2aExCmpe+E3Y0BhckJ4nSKIXIc/6FJiG6giD5lF38tJc2C4gW5SGNeS+KyU+OXZgM29Z1Q0wXGdw6PQTepvRgYP8Z8XOJ1cFMAV012j0ykPL9rsepnVYogZCclzkncoa+D8bM4Fdsfay3M/dtqpWs1FESLUB6C9/3gDLXp1lojmmGD0lm1qk2qpANuThe7Z30RZM+ORpH1aNWITF7XihVrOfG8R4iaqgFDCIKVaypWS6iUtvPfYmgtTVkjad+D0RDMPK+hA7/BWwbkFC6VLeJgsqig2o9K6ocJUD4H0s7jkGSjZuWvsl1C9C0tFc3SHzl/WxdFoUGWaG7Gsa8W0upq2bHFsqt7wHYwGLNGtufgqpCovTkxgVBo19gH4wpg41wSyTyS+7tl+nCo6Sxlp5EaWWZajKpFJO7g5JX0UW3EUgwTYprgSJyxpaGo6rW3o1AA/latqDaE3RFbbQ220Bpxo2pgyCe7eHLCnLxY+jIayxrg9+hlLIFaWMfVVnt32SQwN+7eYhBjAl+PNMujlDP7smpHvIkuDMtG+23DtGoWRSCnagsNC+2lyHq4hzcJ5rjpNj/EuCe/loDa5hA7sAIG2oqoOJwbsW/PCw+Mc8NSB2CGhiHuCB0ssl7gc3ecCyauulH44z099Jnx1OuQ2vHSdAZFGH4V6YIg4QJ9XtB8OBfZesy1oHjop0gBe/lU3/nvtrtcopnbq0fyVWZ1JLbDFa8InK9xcUhkywsxobZsVR4v9s/yTl7BJ1zhVhIOpbeTY4mxSmI43C40E6L/O+oqaAWHzVCzwz5ZPXzJ9wctExMFjHuFV3ww/utMn5PMd3JizTxABkJWRwXb88VbrsTmkG5qu4+2bj/w2gnJ1/Wiy+c6WWM3IsHGEMnZRZ93We8UL8cCbkZaJhNtwtTs1tlFT55EZOFQR/PJj70ywIBzoIdKQHBD5d6LHLK5J9B3w3VLWbzYQUELOflor+d2oSMHD1on3+gh89NydFoFfE/dqQZL+4mBFyK+U47nq29SNScgK5w1411lEezbW7EbtcRHhexIY9GuwWAiybnC+VjdxUH5UoMugt/K0WAHIw+CoJPuncHjoqj3qIbC9n70jn/7mIq5XXFD2P6KmKmLyh7dn+EX6so5vCOmFVHCyc90L2ZV0z7UgzKrPaB0ANxezvVnXGVVbRYTewAOCT7z4mq0EVh1xmb3DKNvmL1OaVTuiiPqFVp/9Og8SNyeQAu8MxTAJTMURy2ai6QZVA4QkzkwSRlFBi3LUzXzWqVNwXcqsLJa01fASzLjoU4iL77Tp17NNCdzj9z6omUrnKMnCjTOcn1S5BtvxB9Po11xDlVUjjqtdPGQDTj39feNWcyfLrj7mSMyLZDFcPlD1Ou7tkMSk0nw8PddCAsoH9tLC7rpNDMwMGyfExqAJ3CFUjXsFlXRJhJGnDcC3L2yelPy++ufza0Ud3TpttwWQSl9LijjYPT+oVtK5o58mj+I69TJLcUHViHRlDQnZRy6HpXdX9ibnh6m5YnAORLvt16Q3kI2AX6kb+9HIZt05ZShcWu7ps61IcZfugDZNCkFjZuNDT+pUo6Pf7GyC7bZdIaNEXr0KUYraPRZLrte9xS9a3zoeWyXeseIsA1S80MUm2zbrAabuHkI+ffA6kbQgznk0psoitWD7mOH15JYic7fRXf8eWpDjQGvMdt/e2OiBjrjKkTc5hkhf77hA3TLJL6u9QqipjQUL59/imiaEqFBoNlCBi/9f81dp4Mbo0mlCgGe8wu5pKmUIGx0q6ViflAgXqYMEo+1v+5LeC0zsh6ZH+jSMxy292iJlv9wpkm8LH9kt5r/vP69fkBW6fpsGUe9n5xgFwq/kv4GxHLmctaGMMrUMNaqDnMjwo+iuXoiZjnee4CgRGnnFSa4yho37JM4RngbkHOKKRglEGwRN9LeIX+g4fxMdvDleB453b1119q8U7L9/7nAE3mnuJwi9b+06eJBpw55wKKZRey1FkCsytHqmKyPeZwEgajzMUKrYNwgxn85STsfT4q5QLkqwwh0TkZ0HC3OFkaIvHwV+W02V9LxdUUbwx+72tto3z1atJwsh7/X/CkOUsBrOQQKfmW63NQDPIoHwbQYkTZF1rntHtLU6QQwDqXpQU73yAz2nZx/bbL7G0lMZrNkW+VlF9Sw+PUPno1rZWhNMFa7lOJ0ASA5Y2zNHORCW6AJ4iHqtoRV+diC5fCibSVa4gifOwCAJY5iihf09yB+TUB6fYt7g4wXsEZa63AV+PeLKgkQ0WlANf2i5t5TDLIc03Yq759rAV0FHXr4bGF2V1cNcrNISsAOrqvUDdDewNosd4EYFVrVYa95s22UxelFcanaLkH/kJVuNbuP3MgVuzZBcO2We1Ashk095H9plr9eN9acP8wk19pmINSFFouvJd6yMR+5qW0TgGvceVLB04TXajlpKyvi8QwCTqHhkXm+tbNipqtD250CcBwUKC5Wv+abOMatEfUyOF4nn7rneSiBfqzM/2PUme3662iY8E0HGTRq3N9wjpH+nh0msavsIHX6uy5zcCueUMBA7zwbCL3K9kudpadcbzSkwNKMYB8AUqPPZGXbvHTeupQQh4kkNKZI/Z3Be+HlkyAViVzTx8OtwVhECRH2271fD+pwoj6PW2mmM6aK7sDIE5GR6fxgDd/DQgLWIF2qSz+Wce2736gzSi22aWGk7Hrhe4UghJNi4aWrMxZ0kqYvSyj3c8s4iBoHz+f9yTIgLWYurspW/11d0x0sj+cdtzezYFwe4k0FoEAY3F7o5EgcNv1wX4C2ktCwwCofPHIGXH0JQqPzYIMgQhwZ2MBVrF4s1UuzcsgJEcyGJBT6BTyU9a+Q7Q272GHajLdTUi+muq0VbnOGZcECGULRDoYOY+qq/D0cMcthi+s/EM3Ep9wix7tTFRDMbFGxbIux+LbQqPU/SkyN7fiKQzp3bQftkiYZXhPYwptH+hgpvFMMdmnLVjiR1JPtFmb1Rh6MVZuYRHxNiS1UmAt4a7eLPybbO5z7fRUgUoezyhf2aTqAUU9sJ58YXW7LR/A471nFA7rndo2wS3yJhLQnX6OEhmsm5bpAnQvzsAwMNx8rYSgV4md7fQ4ZsGYATrHRMNb2YFSIeuHn1CMy+NLEKSpviOgyecIEEeu+ZSNpA739nGkubRW0OhgdF1prc3sq0RH9hz6phtZF2zk/PDLdtG4nQj7gI7OXoCGrVXcXAsHv26qDfYjDw9oaFYX372mG/8L/V+Iab9YBMMosbPUC7JAeVkXru/A0k/+QFKtpx9GtyY/Yoitkv14GfrYbnWrfgt79kfOFyhERN0yGvcBqhhXN+h1lJyycm1OQ0KgLu8n5JPR9yba41ehZPOPqJMyPkoOX9POIOv9/t+id+zOhYG6EhqnDWKsngrx5le3+pnMG7HnudLQcx4hXDai3k4VPgfK66zKJgMTHQe4QTzujOq3Ng0+lZyYN4Sr6M/j7B8niOWID74ov8BKuPgXSKssTk39xOjxCnhJOBVXvbEtpn31Fw8NpdRBmYDhZRntr2lyJGSZNkWp+Oh1tvGWe+BkG4awIjAgFgpBakjo6AJr+G3ZvsjqMFbYxNXxC7eGv/8weSLjsNnGUQ/VgOW704g6FS3RgC2MgQhORvEaN5P0yg15oTavvF0Qpirxs/5V0i4fe/mrf+2ulZGPGZEKKtnNtLSicZpjJCzF/7xkBf+Uv/OQnWyNjHg69RzY6+D4CbtVzYH5rlzrEK2YDK1Jr353NYA7JiMll+Wack85r5d2GIWmoT0QTuIFhOisEW1yTNRptsBQmLqnt52YldHy0UsxSYHBjPKV+XqpExz//7WRz2bV0GCEBas7ZsPWBACMBlyUpGg91XWw/uGhBGDoGYfnlR0C/izC0CL7Y+2G4gVNuxWtRYmP2fN4o8C9PbdkfIIBILZs3mVxnfSWxwMsk59Ed5qFTfjTqVoS0vVb0yB59YqbI9Pc525OzbVqAPfyB3BKX/9UihoBmgOTYvORu1Lp0/Tn27jYonj0fzWn5iA9+TgC9qDxAgu1P1u6XgcA2zrgu4DgDJAoKvTe25t6CcPTkyhNwWbVhI1IAAfozkDtixu3S5tScp326PgqsjFgeHNm6NUQJTw15EJ8lEkBKVDReSwTKORInWxsr76S7S5PSbo8zKedV5IRJZV+5hDBNRDS8VgqSw1G9LV3BqPjFqb28zZbNRm7FBjz52ocR8WLcAjL3XOdOJ0PYiryL52MRgO/x263rNHpOEsx+fnxfh+0G5RGykXjQXBxJ9g0/jjRGcyvjqqHKjBYEm3TmRIc8j7V90wtxZkd7fenqvRVe8f4slqKnYobpMxjaK7JEFrmSO+onzIs5HES7IqaNsoohGUFf42jvWotMaiB4KEigjrg6FqCPxQ5tS+8guHsnPrc3VxCQefmjEvlbI1mMFiEUj7ce61xb2wGNC4vzLz0dfh1rgGEIV+8CY5Tm4l/B0zbTRk8MMrL1w7tyHMrpKGmXTlxpKX+2H9mlMsLHiiMNDCHJK5qjp0W7kkGQd0tO5bj/qdGaBoTyLa72nfbL+SJdZ915TjVgbQhC9OQl3LAZISIh8mt6oeb1OpgDX3A9DN+bMJ26eaVyNZJ7Qe4wqOfPKjtNB5QhVtKC2ym1+4cSkMWAQM+Adiu9hGOLrcDOCxFjf9LN/e2eD/E8cNtE8unMWBfl6DqO5SlYrpWPGJPX1a4MViBYYA4rw6O1RF4bgtMGSQ/kK4digspnbL7CXKmuaBPS/qQwsgqBLvi6/Hu297dOIv2JQNBNppQrS2RKzK8fF734XcJoLSQ0uKKaVVL3C+n3Se/l7sb+9ky/r4E5oIYasRVnJmPCyJUkeOdH72fRvMnEZ5RUypLI8+modOJBB9U43jnexaTRdT/7NxEDloKzWcLVEjAA7yzKhnsYJ5f1igs2CIhDSYmgEt3Gsn1Q2NiyMZBmkxGAOtiuB+0HDa7NLAbeQfq3DW9FeM6SbJC9Tq2WNn5TBrG7Cl7vJUCAzSuXEAKOkbJf+wYY9zsDh8gQ+qVvw4SyL8LNfOndv+fdLlE9Blepywx07IYU+O4bEuW09eoTTGNbkek/4ycnZ7WtC9yBHDVwNGJtoiJ3XlZ80XxdPS/iXCeLwYdn1EqpF4OP2j641tl/WXo52IxUI3XhNB+5pFzkDGhfvhLgXajtAt3VOJkiY00smMVRwkePZA1RSb70LkpQrLg6VV552+QkHtss+t84gBk+MHUR9H0oU3F4MitHY083qAwdf84MTVAWRDeukFZU6dGoDEdj9Lwoby/vOH52gazA5Yi6bz/FjrVPG0imNTTjTdcDhMpAokwPTDL1uDgK25WSKkxjLhHXGkgN35WmwMTOKyy/FKrL9WxJSgtizK2OZ9GxgfIW+cUvL1sJjdXqUfXaLuFUtk6mHOFBWqw3+lhF25jhPQKnb/Q2RLuK4m1icnlX0vzkXePu5SZeGkd1Ibaz1KxeAI5zm5EM3QHW37fqysLOtaLKSo1QLVY6vhOLVgfSwquvGiFpzdQbWr61sH0hXZ5l9sJ0mKCNxfIE3t9PvoibUa6WfrGqBLqp0bJLt73UftnEQRZNnybf15nhYtjtg8Sk6yKEZs6lB5R0/ObJDPM8W6BSEhIAF3kiufeG48tAQx0mXhCxwhqzlpJQtqCtG1t6BXSmR2xIGxLXrNEM8tMlwfqU+k2i3G/UrZqX4A0Kj3eiCzBDM5GhLH7vwgyqJnz+qpLxilFrJA6smXF5e5HcBZ5odMMRr3tz1tLcZoRkrEcQrgIbcdvVg1ZS9FxVJUwTKM7JrB0ZdxHwh5wFjQWEJzczwhgvfe2ktzGKt4buhPPR4CIIJOJOEBbPjdhq9Of6pxZ6udZ5RGBwNXCKxnZEzuxn2ZgDBLlMYwB5nl+/tdm0UZ26WJSJIx5gXxzdyrPBVbpJb5RY9WeUriFznNH8q1QKBngNXrHBJRHE0q2rueNyQB8RC1+SOcBVWNn0jXTa6QNZnsSw01ehYZIKgTsZBPQgpTWlSeDMF29UWc3IyHVIG0KsZLPoJwBey6Ru2t3ffvgRO2Z2Jfh+JgKcSHJd0xAQ1u2Xo7m6jfQaJhTyrDXFzNUBu8VCvH2MFho5QqMkkDqmRG1DvIax+tAwMWOSxu7T4hMCb4iYfcK89QLe8wazZqdzjY199nvwktCiuvd12K0TmxIozBW7RvYp3/QdL0ji1YMQJEtTEbWKjWduqTeGGBGG2XKhvXwoMdjjOhuwqiAdGuWqRI9JofySsfs7Ij+1vuHXsGr71dAwQShZ6dO4pI0sCEHbKinm7UXRVl8qtq1rvc09ifY6x7Rdk+qGeu72qsmhk0nDod7il4T/JfIytvf0yYYKGjpZ/G2ZZ6vf8y+w09FO/UjBQWJttlQuALx6HQ5FxKmPJlfy3wK1Q6sjpflLajKRCoP7cn243DZRPmAmRPN+FgxXupFrNggefSEFSzI7WaDu+zGleFZwaRDWAHia6h6Ufl+qCqgiq3OKdrNZZxdi24G+vG4NUUq7xMr8A7FSnTuyzMDIf/zxR5gLV62sxZZMoWnafT0BmMPKqS0kicQbrjbsetq+09ZmDgRmF7Ef34qRaCstkPPVS5vtoF4M1/SrtFhTBRdMHVeinKt+AsjKv1TLK5TB6DRJ0UiJCpt7urpWYbA9PVQXIaUBqKSbc1LwUwOlVbt23UjIhJbfSwkDy6wUj1fBaM62deyrO02YOshLjBkLyky3/K/iRktmLcbJ5DMnfYI1lqFYB9IIVwlQP9PRsPAwHtVHy0o9KthJddvb3nEcWisJGXI7visE7eulksfHThrPxdDRM9jX2uNprQQLMcGC3T44xENvCRXguv0OfaWJRMrNkMC+cAnwjbSX1SOdYGfbW9OTQjrYLBB6i6uC+sKmJ7FU74QR/ezJ1GWi74UNDTuhaPiWKVtonwwXT34/eXAsBT/AGzwRYb+EJvgz3MDnozyvojgf9RYvBCMs38mIJO3MzTjVDdgxUbJIliWP7JIxMJq+NkP0uFcVklIfMzg+4/5j68T1hjIOl2vQdYLuBzIJXPlbH7jJqn4k8cYyTLUArItWeO0Nc11wpuHfUfh+m6fJKE3fPAMuyDmeuuwnPZTv5O/PIRSFqXORNzQ11T0QjF0hSmZ7kgCD88RQXXZy5p1i2Xeu3EdNcdxcRjU4fJB9f7dWAqQ1gigKd+60vjEiOwNLx3ta7MfAuBhdBSNguF46wVOysXCZEzWWrMXzg8d6ar6KaDOyc5CVcvo/4ghUfZIv2sUSH/zrBIWp8GHvg/vWbRNnYGRFwVvItcYxGX/U/C7Y+1oBUsJTBVD9JUHOqpVww6Wu40LyXeH/yMSbx0VrlLQL5tRiuD+l9P0Zad70uuT5zg11Az0HclCUSQHInX0h3RB8Qb1+URvom2IxIhCsdtFXe9EYLrpRsBrpscGoqVbraFd28kfxkQgxMQzvInf6cFC9nuJnJ9IWf2/MRUQws4iaTrhc9KFo3y1KSHOOvlVAdkzJdML2y07N2J9GX1/qUiNNs+epc/6/7yzhiVy9bzL1Zb0KKfiGhoZoRy4gOYbXuzZLKD5Knu40loAgXDcFtSS/M/pQHIKWo5CZriRXZBRg7PHlbu8Ucqk2HABzWWdaHMrJbxDRD2zwFA1IuWZIA/O3sGNvjaH8/WKqZQ58OHP84z7rqnJvvve9M2nubuLOdql/ZgJvX0g9q91uo+WxfhI2agdxC59GrqYuKJmRTJ9lMKXh0wHgFHgzdpdiF6+ilx67geHnMJgxWB7u/QiC6myVHj4jxwP2V9x0LCoL80JAmfELypI0foW3iZbB5xe+sjnOwDp08fgUxWQ+mqxmMdNB20LNnoYSZkL6VHevhebTGWYznDZY/ghi+4MPF1PdcRfeaCsxDvtdzDiaPenbcN9137d/8elQDl/GnKyb2nEhitJ8obsY6kDQQcOZHaa/c6QJiSeQaBo5DjltT8QbxXm5lCOxlf6Nw8+sp3U+nOoaEqzvju8fSREWZdkkWmX9uJ7stNJMG5yqGZMaHyw14UUtiPlMk72MP6FHqLYkDumQJd4+TNE8Yq9j/BEuG4zMI5aNXR4aykLIi4CV0R7zbA1CdIGe/WicsI6WN8Y9OWFseN8yGLZJxK+YckZ9b3rUaLtshMQzZMvTqSJzO1bmqLsLqK65JKIKsRZZ98GWqnfME0DIQkFPPDAmzqP/lepvhNnSBuykQWC/Ce2q+GkF3/me4iSasVkfutcwvmpUHqJSBRoRotXHjKwMT/xKDj0ZjExjtQeW6XO7lyGjJHRAYG0kBzkow81MfS+8cbmMjIQ0DTIefozSFTibiNLnhyZpT4XZqnp7etJh7iI6soWcf3TA34hPk6zFepIdm11lYxGW7DQKeVDVcy+3LgAubD+Vkg1vUqwMvZR7Fda4nT5kZUuKX64JTStkSCucaDqU0LlQmsAx4vzM9SLDP5Em2bqheWIGhf3BSJ5OHC9uGVfd25twjHeTcneVBn2v9vBgsKgGfLw9b/9jsE0wjys6s/Jp69TPLsVmVx450t22ykvPARI27itjt+hRVVwnT2ybuki3qTF5iLxOZmUao//uux3IfqhUVC2OiASsrY2GT3bcylgRewmit7HgL7juPLZuRUwPlQD1HdSOZHnfRC2oFaQaMg5Rkjv+yBqARBzbD+IvlG7o5uet5qCC0k7DqUGVmij6MU1xKKGpxKlrY/BMybTI7dhOBYVuEOZS+6DdASE6qcVKqEGvD/yJKId43dlaT1g4M80HcpobMLhzgFeFrjROITqkrwEZ9m+8+0xtzcUJrn+eafbxxYRkrtWGwer5yit0k9S5btZjS+CDeyT2Brxq7F+D/fFxhuRzyw1E0VpTiAxg5ga3pOwgCPoJDAKMso4B58j3QVP//I7JMOLm+7SVFm/pjU1gfQej8BxvYIz2JxBdtR7EP5M7mZgCvN0PWQ17QPtKARp4tr4mcHpzE2cUgasj0keBRbJ/wjMclFfTgnmz0spbz4Ex13E7YfEQiA6cLj4/UFV34uKrHKm0UT3AdX+DJeOvuQfg1U4NFSRnGSJL9pwCviHSrZCFdRSi6974/1lqq5p1WhAzgV+HvGINBpKdujXn7VQdmrwIrLhoiVTX+nNxprS8mQ41TY2ubQYA7qoY0xBASA0RuDSsEXopXBz9iFecQhhv7LzKbYMuKZdfKY1nmVKMNjCumBCbnfVGlom1WEuLxZhJxsufK3hGvsHJcDiZgNowpax8XRRu4PrexvXCzZdPci4iWpsnINazVplCsMpsLnROgYjAVqzgrN73OXVr8gIcWKFe0/K1orD/6qwATpKCgMGjuY1ReyIzbMAKWS8iWK7BueM9qNMViwkRaK/aOsne8jLXcDnxtYjVCS4/HHxQDS6YD6Z5yBBsdZOEklAMNzeczeKJNkJJBJ2n/35HFNXXzhpi29DhGrNvb5PDFbTMtepmFdbEffRvyWLMmiFVsKWfVPFERBhGTxNGH/xHOIycqkZyE288AFryZHjkNq1XcmFJZ2jKNHqTzqKPpFFIGFOJlcRxU4mQ5tzpL8UdrfQlcYj+tuz+dhjIll/knvU1GU62/kHIrJ56QhpSu+rK1jrYu89CnnSwLjvzUV1//NoFidBlq6VVO7VQgB3vdPXDfR08Yj/Q1bkBZECgaJXTJfxr6NuG29xnzzfk8+PMPeEzz0ZTPvLnv4WCVTbB37pWwigDuIAoRfASTz5/Vuss8r5gWgmWx32J7gHAyw1Sp0YCiJmYR/2l1lw73wpfT/YLil5WeXEbqb+L3K86CbJYbuFPKjL8ox+368tVV8VD1PMCKGP1z7euY2fxHZykG8iE3ffY+uiPk27OFc3MBnDQtcwq/O3z5GVDIY/GWRKZR1wiq2eK8zshgyOXEQ4S7i8bChkPnOD5/MLXxPivJUXb+8KurZLmBjOm22H8gYsG0aLEWBqT7ijSbxT1V3zLDlsBYgs38itim5axoz+m0a8B77ADbIYWqF659Uic/FJ/m8OAHMSYh3gpYhcy+OoMebgIinDOC7sGWQju+TPTQnBPnDnjFH5EcbGkKfxntpyRZCx7oZU28dtL31z6qcpHK66Gv6facIPnbRwBG75urxKlM+ovYXUFfiov0+G0nCvUlFGwkRhYgX+C8i18nBKqpUoB6qphjxH5/SgteQTRwPC+0j3jEdy78dKVS3LEiGgWRn+rpv7bxib78PpqTlls/tUpLWJ7Y5ubVLvvywnq+5wwQebzxlgJEDREmCaePnnuoqgOoOgmB/GcXkvwR+r8sjrkpv4fRyBecODI23ozo3KiX90bIAu8yLUibrFWI/GUwu8l5RlrEXVV7gJQZ2IHGgbB6g19zk3k4a6TorWoMYCS6n9Ew/ynbVM1X+Ro4jMeARSUDFnE3A3gZxRO3bnPAdAOu9Y8F8ej1OljhavqL7lviUotV0l1PzFybUfIOz68PntCa5WEG4vHpGc6YaRTxajzVfz3ETvQvw5g+rowrLtIjKqWE+dji6HSvcLL8oNi2YKCT1YVvzFQBHrrrhM0CeUBSZN3LAvwK72i0tZ37dSQAnSzIyEqpg0nf5g3XRhE70SYT1ucLyAe3woZ7MgI7jEQ66NgwdG4QShSMIxWg0MSOnGlZlSQkc51kRhvF1BKlLeEf92NLq0b33SFgvLkG2N29Hjs8rs4Z233DZPhKJ97zI6FNK4nXRyEgncHWHYdsE5rBKSvJXiOqQXd6JykzYF4+dTFVDrDCMfKiy67/LVkUhl+etoGJS+N0JfwFdwa6vSaqjACagkrOEXY5jT/+2LWm/di90kOACTbmbuI2l1dJv8uebtR3yfIGyCfe6G04yDtXKHQFUAPIzbyiEm1LCUkvFcgh4h6bJ1a+a/zvgA/3EFM92JOVC39COE+VdNdWLBX1Z99ttgvxpCtVZUXcsvG0lvZa8aIexlhHYiuSXVeVsnjY9xByItFJ/DI/hqLo0zV3yuZExNcB4tVQqGhB2svL2SYceLq3OxXwpX/t3TfwtIwiYVc5nH24oX0Jori2xp2pzFaZz5+n3tPY/eYzw73Y3q3/iGAhRQ/7/IyDgs7YTfrORwR9U+U6BKL5/s+L+5xLXkq2e+02DQ5/p5egxd5ztqwoPmD7wATCay9N7HRRTsm9z0RQ8E/XuFZea/MXX9FZ043MA8BKK2CpjjhrFmgnxqYJnUyfsymqeft6rzdXVMCe6BCqmjJH9gmhVJENCLtn0+LmcW63VjGcJbQseORhCoQ/ALWAdoexbVAAS9v29YJtgKT0iBuIKVE3642wXwgLrJHm1qT7J1v0VLp7FV1ke3zJqiLmfJ/a1KMzeDiEIVr9yttG4jtaZkjxL2XE9PIkWNVMW24vmSTpigJqt5AF9jc4cjfAApr9z/CX6HL20qOM18IYc4oeOWcMVy3347dpgS6tiDjuoVFYE6yHOR5+E8gCR4fP3JTueeZqsTfEdi65QHtrz+VHdTnWTIE+ZoRii8j8Va4Fd9rMp699U4THYiHaGg3tGq+efdve8ikdl60wRKSXVOEsyAONS5p2yU3iQqfMxtUnqH67HVM4AlMA/715xDQCDFWnuNSLcL4YjXz7CwHKAkqzzj3UsQ9qe/3JfAtIKP94X1MFtesPecKAKfGcTnqePuFQYKRdlw7JPj/lETZtSwQbISFGXywDFNAVKTgLYAOIxbyPlQ3cL8mhCoJxwAJb6TOLLbF0p/O6SDaKzV7avIcZjXhlnnapDkHqSLnruyxXMSWdNkirsNJxM2ANBPdQ6OtWCBOxEAomTccvCeydINBdWn8MM9eX25IdU+GueLEKb/va7TIyuX7yedlXQpZa5dwILssGRA+rwFOWps403lC77yuWHy7ytq9aeg6ecXWknlqVF+OHy7BGe/EFqzTIDDZwefYZ1SJ5wbBv23KE2bndSKB+2BhgCxTcLzYHhGolhw4dhvkNRDVEOyjmxQy+L+fg3hck/7lLRalfy+kzJW8CxjXuOhoJlQI/cBfPkpeV7CIl94wVBWEjkIIyHf1nuWPkhPizflcbokufQSAOHrr30Ep9fjkYzLHgoXMqXPOxQwMEPJboMiPfbQ7qphKKejxmfQotEIVm5wZxm17LX+yVn6mRTwtA1TF6KldOvmhUHbOBcboWP3AT7aEspclZ4Wys1T522M+jNxoYDiK0pELd4101CpdWaK92chAUdyJPQB/nyR7F4+5bPHMRngPnOrRBA9PrFRJBwlNt2yOqi25UnFeDBsAxliLxahAyGNEBjKhcC+hwv09hdAF8sRDzqNQtUBmqLu+Vuhz7zwhd1i0h5cXRXC/Hz4Te3LOUKqcOa6xdZ798pDJ0xuQetG4u8pcuE2FiBxCyexObsyxhwlssro6CU5jr7WW1jjzGsU6ps1zQ84DxPy/2V9bWhrjz7yYKPIQSlHkDAniiDXUVPI6x7jbcgHN0grOOn34fAcn5/g4jRRKxLDwczegGUKMihusS5AnAKHWOgxdDsUxECQkuwZsQaQ0nHwIOlAoQio58q8c/VRsDM6gAMcoHPc3dX6fcdWgUsOz//CY/rpItIMijqRyqLYDziHUUTcaBu40t8MsbhSI/FL22guDB2BuuWccMlMoHLodnL1rATjX4vDGCA3keJAFZMKXUVDT1gmXG23fe8VNxWLjTzfPMJP4JLjyrJmYvB4617vOrjy2wOMOj49Dr5O3bMihlzwJGS79wSD+OI8BCyDMdx111zqa4hnBiL+kVBzt54RHDjCJe9DLlFiIk1nrK+V/XKyxgm7MdyIgGcgQTAgzwAy/QAq5xLKg+gXF1bq4fAbj62nQpjQM+9ZcupdD0zvQPjfyuXZ1jFRobqiGB412gI8ENAdETJ2MrZnBchgjs7EVnEnk9ORvDjWJIBGh9hZllp8BaPn0AQ2CvhbBkxAV2ZIKMBDUxD2zUnJQBQ/dZiAZLRG+5DPXxxTtaYDy/8su1564A7WRfzYHtDaYE8Y21GuBJ0IheQOWJY96C/Nn63kuuQN+PXqGh/Hv/RYv29pwfxnTO4DNn9VQAk4MhFvG0rwLJ4VINDh6nMpBlm64XEzYcjNq1SacqjLey117810EK3BhYZIj2Hg+K6K0WAUW7lqqW3iuswBWqDJo935JnUOi3eqjY62xKwLeMCBXnPvHnTKFLC5gyZXgneJsFXj5e0V0V5SUD+3rAyCuLt29AQC5+9iInB00Tpfx6rpLtHEBQSV8y48JOg5Qobun35vL3O3n2miOgizU38puFnWTC0UclmuSVQrJh+S90oHmbT01rWc0XewhNzrIsRa834U79Z4w3nwa5d2g/b4iEXyqlkHWCDS0/3PSFrY0YjTvAVbGZuVbJPFkoKE3UqxFk7AYWTturXCT22uz9naT0luXx/cSl2SR7lzpb7HlrtWSXrxmhqU/UUoS6EcmXUYTWeFtsWBRBTJgzU2d37ayPsB4SvLqcyYUud25L5kG+pZeYqCgVwEMT/OqsyRDpWbWOXu0No0E28I19eQGUVsojI3Ir8Y85SI2e1y197l5fLc6skZm+eSkmnpo/S+MHuJ0STpQscoO+ZYD3LLjGGPd2Y4GM9d6rJs3j1rLasoDV5j/HruKsnzqbHRnpAV61o4g+PX/TL06ECKJ8BjyxCLKnJKZiBzJlqbEHgZLBnYusvhrshbvefDlo2Su6LeMr58piKQMCLqmDaRzCj1uETcxVjf77SEaGncqUZViS1sOMVGf93okUnrMa0v9cNIcDwK9+qjKlOx5nLZgLSGFOue0OXcQyu/0ZSLKhzbBcrO2mdQMer5NvOmZzHDN6P/9KiEuDC42G+ueksUr1yeHB1aIKzJ7d9dHczu6hS+KG4Od2MimQf/cWfAdxYZIQKzZBC1SoxYYOtqznrHwewJP4LCn9BsHLG8RqRlXRKIObVPnb3oB2sXUR0MFL2oyzSmGSIOEI8pGkZc/JTRxaQJQ4iPZgVd3C5eA6bYlU3aQcuT4bMMhowsjwMdeZ1UCSBsJqjxSTD8/oi9t6oC4+pdb6cKGMCzscHAGB0If+P/4Sy/A95BX+6as2+Hf6tdOLhi1tyHrnLRKzh9qT/Y/LF/gb8HVperxvoh+z/tXkA3SlL8/c9kuTJepKsT615MnFrOR4zJCHnDeBkvitAQ0yHEJVhrBoxl1dISmyYu4q4rw1GcePBOsjukgHCvh961hLeipHUklZelzaMqSWclnDava8QU+9uCHtz9ny7QJShksz0ESGmxBSxDDae1Vt4xHypG5MqM9qpJPxPl5x2eB10dq8yN2oVoHVtA8okcanttQbIxBBBzX5IrHcVlthYq5J10un3ccyOsJ6F+RDjj+MPm/2cmZ/XA5wRGkDkbP3aWoXc9kZWh/cP0nTnTBscwdO5HbOGGMeDg8KDPUDZbXmu2WNGBZbc35ka918gw34bfoxey7ohyTT7KmAIshpHnZ87LOs3+TxEGBGtjiPZeWYl+JSQYU6UdESquOjdIVNMRZeT0iGoZkdYtfF2BtXNOnEl2C/iIg4kf4dxyMBehZBBZzsLstqCD02dgqJRkycOYDv8Z8smw/1vULVZsI8c74T4M7Wumi5YE0leVD7TsZ/AD6S1J2kq3tw25rpLr3f3Rg6vEM+3mKZkDwE2JvZYz7Ud+y1eqHdONLcSI5ScnzipJJSXijReGdRUwOEWyV4Oiqp5NoLVRH0b8/GdlNo92J/by+QBKaQJTwzpWLbN8UFxGNrVmqgkr4TR7CGFuB9+Pj3Yi9cURu2h0NxRq8oZvo/Wy2gWEbHqLyYjX8x90Lre0zvLBf5RxqQH5einL9Xgx6/rdorTLew1En2+B/xjWZ+w/NVAKNR+jnkEJocMty6+a5r6mxQ33J1yeGqJycY6KreFSH7cHORKrrt9KdlassKLpnm10CQEFZYRO8/Szht2mWv2XwEQSNeYTetGwt6euM+j1reyeCvOPKNoFVkz6bTdMcQaIrZxdLrersdUoeOYo4FcY2FRdv5pm4x4WHE/HANbZAbAW2Hwq277a4YQgyqx98UBlJSr2+bOB6WG85wAenmqxiRygBy6k0sYodtQAWGKrcPG2kFgVJJX7jxQe2XMt8ohbxWqeawUxFDvrvxcKQbxNtUfSBbGiKStDloMcJPxhA2RMD10reBbs2I/8PAJiG6KxDUa5jJdDetb2KwRf9Ur90u4vyyq5O+lKw7jttX+UcVdamTq/plKZiPzYLK8K+h311RHBgXW4RcnvrQWiNyiVEa3zQHl5bR7BhxOZc4AdZEzh9Zx0StrSVIA43p/e8LgNs/cIYIxiFhIGZbZUXS/0kbNviaVdSEthwuR/IuFH3YSjpSbeiSrfJ0y5iYEDb2NBWxCuL+74/83YewcbCGzyrzUC7hMmKj3r43B76o5XT6JBcRPy8phEuCQeJb5wxO9aNjmNqf05b0l4e0rHHnepKbtqdjBfQ9wZItXq2PVqONDSoRkPmDN1gFk5dMzuq+kf9/T+4S7F4SHvfHs+oQXaTbCqdHW8KoP1ezFG1fC40FitbCZQ3Fm1uqdir7tv7vky9JRLEnVMWe3563xQID12psTiImdoK9bDiqimr6/0VFmoKY4roIVM4JbTztsnvad4yBAeHKDTG61k/UJhY6Ki+9BGsRnx0xfRxfyV57rZV9E3Grd49896t2HSfsQc3/dtEVKhR12hUmE0LAkABuEesoYIa9y/3VkLld8Ao5NylYSaCdijCqNZwjfu+BBs9x/Rm/X3MmXwtAaB4YTyynE4+V3oWl4YrSTGdghd9Qofgpmw4A35HS0hHZNEYfsn5hRcapcB8c+t+CqK7k/vc6Z3vmPP86bD/vHuXdWOAo9aAxBBLogmMBMvnERoHeuV27ryWxTijKdjZ0/HUr5lHUQY3Fiump/9bLedvCdN8TwH1T47P+WRiO7dlfN2arhthLYcTN/oVFiZTnNlIBLJvsOXxLrUqLo4UvhQpBTj+UXbsqVkV4KvMKegXSi4+VhuTbP1qXle6XpRHvAw2cxz4+jt41tERCI0GGDJN77XuiMD8Pnqu9DZMOwaAY/Mw5SpZnsfyhjsd93OAMzZm90Xdoadjp+4zWiuaJGNqo6h4V5K0kO3rZgDEPrn1VIXtJnodtVcxu6ra9wkoeG5tXNnOQm3UFPsZwceRDbKg6bfZ5RoeY3k1A27hfU92WkNp4pFjADqTVbOL8poMC6EQaByoTIYtld7CeOTeltG5JrQyZkK78Nq7ro2I//h8YBkILQEibhYxzLZPkXslCxqYOch7mc8NB28SHZ2M7xh748mjf8g4/qcIBNZuMFqYuAzvs9Zks2u/uwR5LD2QshFFSOWeTUrf6vK9KrWLu5EmK8wkphMtg9ehkPGO3b5DUUdbms7JtoK0W2itaZtAwYrNGtyGDzSd5y8dtW0cnkM8DcalsJSG6p4s/hAMwhh4vKOY4d5EcN97wyE3Rtv9uCxPAUgEPUeQLEImftpejXvMdmM/d+TA61EhB99jG2fZoS/eCNAd0kGO8JGoBGC1Bhjz0sI8D8AgQ7qzsPQfqvkzRiwpFhAVZc1CPP+S+xy1abE7MqA/SIrMAI2JdYaa2dayYX13yJU/LlfJnk8D3GXPRTynu282IIhpYS5podIQ6BlWbw6vsDwIGUUP+Vs08oozoewf2YFIX8l8/4DyuaMz4a/sXUWO2S6vXfTWoh6LwS2ynFRTTpilhi1MKAojfWw1dSI6ETpRV/Cf7hTLw4i89rEjeGY0tallREzypk5AUjk95zytdi4fZ3m8ESeKRegqiw7Q1G5YRDIT9+xiF+Sna6eQjjbuVNk941R25lSE50NzNQ1Bs/YcY3yXgF9L4yusEUEfml155pUuyU0VyG6cpS1/i6BAtWut5Y1GEOPFOZzoBsJYtrdQ+GAbp0adSNKd8wSbfUBT9gLYiWQL6jUTRyKZyrP8dZLukM6RQCHJ85PjRyh51c2VBOOV11fVeMFw29k9VlGIwruINoWYLIlnE2E2984+8gSwA1edhwOjKF1/LjhfBF/xsLJPtPt0j5xKBOZesy37K7XAlBMWXArPM9L4oMdB+srcEAeNCjOP+a6I43mts2NDRQQC+z5yCisxiTnpN8AT75miqaaFxI1wk2iJLSUljF5/nQ5jRzSTmc11tlyW4F30mN7GkUBlwuP4fP0tXrA4Uj5SUowlpK/bFmcEpNR1HylwN7wo6f6jSgWKRIUFyy5hnlbvyU6VIJMAlGJMeeS1mRDte7Kdd1CUq0SzBAAo/UTW6Th3+sK4azMKGYks0xH6cGbEpBN8NkTMwoAKGKkq0aQaRCD84ugwcLFCUM3Q60F1UxxA7hC6YYfiXJ8dTnCcaNHsnaTsW6MZwldI/ndF/OMmuQTvVFyuylcwAQ29bZ2NrPSgBTLuurSCO5+fB0rdzxqFjAsUrdLIhunxFNNK2f0cHlSEmjGQ1nt6Kxm6FVEewHWOMhQBrao+MA3Nky0KEJXH/w7aidvwuB/vUIAdlmnR452N7F3m0KzPwxiNewQr5Bfh9Y4Py/7HEAV4cUeKh+njtlp6PdiYYr6TS6ta6tOQLXXD5fk96wCxSdo3lPCmb/d+lTNKnjvTTQG+6eKFksHx4NDwkPazONbqm5nFmlupDwoWlboIwIBFBJwrwUOpTnw5hCDO0/88Q+Mc89uf/n8rt+8UPOTV2A9WnVoT4KoMwpb22hX9k+QxFnncUdir4nx7YOKklKfH0iCxSd8eKaPdcixlFh3f6GAJrB1CZwCUU9UmnStM6obIMG2XYSinWrN9JRK6z7AprAX2o9GIwSsvd8vCJDeu1gTL61iseI5f7toqq4oD28mpq7vTB2VXTLClc2Tl3mvMa7LKW+97/1ZmFAUJaexHZNGZx8zaGWdxvxCizzaSJGI/cQZF+a2x/TtNRZEXy2LnRBBrD5ZUxBYqNSoODdlMspq6eR/nfQyqfSC+mj1Rklpovg1qJOa9PfhUuPOfwAo3Ci1j0Imdm4fQ2X/AvHqvhzl90+jvGukf+T7+SJ8q56dz1soFhRPIP0vyUsDS7GPQdGx6R3NspbTF7f6ekRCq5M49KtJtQhTxjSMABiZsCS3YL2kFeFZR7vZD+WmwIsmfMJTnaw18GmpqWjBVXn6001Dkfk68MVoMxxvcIIMT295ye0vXZaLNniDYCBowzHAin8mtxuyl2oVanFjuNCrqZrEZhbFlWf9kTkCvuNTcgXTG5I7Zj06U7AVsORJMVudxpbcQTBxyLP3wFC9tBgWaPeZ2ziMlQQKmqcJ61Lwyee1qXQtWHspNUn9pOb2WtuBkWYh53xIsGwF/+M+VcwQPdAIrDvtTn0yn0LTbxatC7PWyeg1BGLFTqO0ZqmdOaj7CDU+NlNsfu9UwxJMjgT9TXHlUqju7mSe9eztunk87wkWwqcZgJnwbAD3Euqvn+kj1+Rs8Fx/Sd+EeX3VWeWOMycdiIJT1nwSw7FYnQXW9RtyrfiUs99KJBM+5ltT3q/jdgtw4PjvP4k21es1NHd3Hn5ZkNzqGwVj7DrXq1wGsDqa3b/Rgx342o0lkGEMfVHwdYcN6+KRTnYSGgGLMF44ECwQpTWLxSo1BI0LUxf5trKQqtWushIre5kfSUUcmqtXiCll3eexqlgcCEHr2CffBjtWTBHNBdTvCM49dzvBgXycWmEY/TouQ12yMPOZJmxmF5Q8wmTsKZVWAFae+e6eYgZ2BItxxplZpHovICMpso69CEwvnK3/2ka0OB8H4mAIy5YsTTrDL14vtHxcb6ztJZAxrW2ClICHDB/F2+7JixEu1EjruLLSqpBVOcoYZsoJ/TdtjiJ8VUCEG1QPAv637DbgTONzZMWr4r9slTVFzz4jsmkKjtJ+3VhQ/I2vydO6Qtwwbl1uyGzd8qL9vQNDM6uDcPgSwTxAjA7+GmMWl45Bp36n84d6pm0GOEXQma1I3EcsFhTeEGuEBDSXXyFgtd/NsnX1P8NA/UgRi7/x1BRIl3xr1k26/XCoiKQoAzcXhICM8wj9b74gFcigKI3zii9zJnBZVLRDXmWdAbNPznsiDj/5KyVteXlBshI72C/GuWzPm1t5fDzpaXI8vBzY7zPY0Qb4e5f5RCveZml4R2lHsUvkDBB7IS6R9fAVoz/yxoN6f7r07VXBm9YCrJboohFFEohccvc1n6z0J1ZkuE8yKHrGE4jHkeOW/OGzitqRZ6xLDwABb5mWAofiiqUgQRMiWFK67C+KuV0F6Bsq1gKGLcjSIjha6Ku73Xbn3CDvZsbHmPGQx/UgC2Dknfl6WPhTyNSpiF3xci+zbD9Qipar5RI73YAi72BvoiiUI1It63WsOTS4KwXjcdd/4K6czDCbRfLY6rngIaYFNMv25jg93eGaw/ChHNFojom0QqZ7ujAq6K1ydWBw+cY/FBtEbr1DQgJe+IZzPSZtSBmPpQAlUBndgBG87OYuhfxQLTvo6WVP3EAhJc/ZZjnXgCchkjethDutSPasq1JWsmPL8uTLULjAfohvjj8di4or8f/OFWpn22zSMZLK3Ld1B3+tC5r2GHXKmlzlDDFQVS5kNkwiVm8i42C/6YPfDArOmZVSbe8YQ80lpo+bel1fNmGMnhAmlIJKlbxa9iv1fq3R8umDNDph6R028mv8qJ1iTM863cCax+OleU3mJrBOA7O0j42eEPbAk71iJVYuw3JQCqJmC7WnJysX8X+2DYectnmLciK7NQqfCLshSHQCu4QHLqy+95IeocjqpS0U0xYt4Qdr/7w/nfDQnA7T0Rz3MvgYj3xk4RKiIuT3Cy1Ti4POTrK5BySSJemP8AOF1JbsU9MBT3xjV6UTnx8GfIjkvmiYl1dSBbbJzC7nWG+rAW9XQv4I7kRJODfJiie9ikGLwsG17M1MtNJwtrEDh755LK9+hD0s4wk4CsaK0dyqeZi3EmJ416R4DS1I9zSWRPCP00dbZK67Y/Dq0A4MQLKEM/gXIbISXF3yzrpuQ62xlcbyF6rSBJ/7Ry+soYJtu3Wds3XNwQcIlnGcoGWhdRJp3/nahWmHxFXrbY8sOOD81Jz1wGlLrORzKk8OybO/tHVlWcjkKAMfo/8jrJ+T1SN44su1dBXgQSsRQXkv8xrflL5alaaYJwDevhiJXQgmntVLIb1r6wqLni2LNvspImckTuMOWknakBb8U7pHa9Rws4jkr1xW9r+dYGtpIuJtTRc3aAgf8NcX71Az2P0HwcxEvIdQvXCbydFkrMScIReE30bwwH6VfHDnM1B+OeZOl55ERTrCG7RzcOK2+K1c2GZNxm3C1SyYt2ISzn3FLO6fbLy6qAAoUel6dAMXPg2fPOHnUgIaWkjJuX94/Sjc3twrVQNreq2qmVOwMmGjLXjux+0oDBWTCBBHguTdQ1fuixU1CYQT4ZXmnk6xFHDLJnBL8he5h8x4iRZm+HJRy4TF1AbLeaok4pbQ584slUeqDadwACdqHejmZThMiDx5MS2aUj1Gho+sSzhGVq6DCQQzH12e13RYUF4YAoqgis+yAd0qawO9GIpTlEAg/e2BFbqGPEj6hCdZl+LZxJERAZwwCHki6F9QforOASNL6TMdHEjjYngdbmWfyN87ewcPNCSUiJXI8ojB45DB6SjkvdQfwZ9n0FtjYGqrcSSIYQ3N87g/Dr/dLz8qshjCrRxjVYwAwWOFWJbLGX0ysh8KRd7tWyw32i/Pu4F/FzqpOJrBU0Fi5F3V8eeJu3t8B8O3yKhaYakjnJYkXO3qzIlwzeJq5I2O5D1FVTCnwjnDJVPZUS1kOwD2aDAim9Ih9IsGBvLIfWSvDcfMJ+vY9H/lAIS32RTNz4D7dEcl4H9eCH6J39ANXw0TmeGcLIkrm264GR0qwKIwQscJMcKPFQIM5vcmUJiW9nAv0QgUhKgs8lxqjNGD+DdWxt5khcv9G4ZtO6n7gNS5vVHe8fcRYh3Fwdq24F52BoCEqaNHlZEU4MC3bcbNtk8TmfYi+lxxlkf3IvGKajizZRA09KXmFMgm2HcZ7Lx1M7G+/myfjZXMeDXSr0+fOjDbqo6m732BYaBaszeoNRAWalAIpNRUWyeRtMQJ6ZoPISUy+evI5Kds7bokIlhViqhMXiYnfTpJ0YJLB5cfHlrmoPXaLG0XkhjPxhHZX4ACD8LmXxSLQk/TFOWxaoo7Mzb2jqG14rPIDPhEhc7ImEFH5JQGPWYijMPDwOiFAICiohGhGVkt/2rTGUMKtEo48FOe7jjFdNyN66VKs7TxeKJ/Xr8tNQEy8AhOxyoo2nABhGXxnerFbQ24HRZ3g/zWbRHiJuh2KcgAGGQrz/I9yywhJbKsu8ORk0HAo4T1/mkwKgsAXAwb7mWPqgdkQAFGRTyt1God/y4EuFqmoeZgjjd2etFoEdfVXv41I1YxcBnzXhJthBW7KjROPtB9kXFmHlYZWrGBn1scVqq+YzIrTeBNuljLcOkPK3CvE8A4r8PMTwior4iEijLy2Gg0O7Y9e0rXLKIbSFWV+ScnMEFi9mkdfq3TlLkcRTN4yluUPyi9cTbF8u8vdDinH6lgKAASqus5J0LEKRuMQquQIcvYDTMxTfSfpiMLOqCRKq+iQ/yu04fsbuicIbASI5t08sYBQTUqNuAMQo6TT3tN5ZzxP2XMHe3z05s+6Dtw79CHcsjPcTR8oAqfqye1Vg78+CbSgUysvpHPHH9okBG9xjYYdG8qIaIiZUXF+lk4f1wOQ6N19BQAEMtSH9cZvSQfT+YlWrihRs/kKh9/6TxuFuHovdHvKHO5DVJtwBf9dW2ZTnVAVNqVadmIknIcsmtfkHYprm+xfEJGxtTAh3J20dqLADaErZCNyW/lxiSTk6u8lAiSG1JXQl5Q6tMHvazXeV3N9SRBHL1QHP7pi/e952NMPPa9mLG9PwbxTfv8z3EnpSP1DNN7pq/RxQS0ILCWLuYfCWWdh3VxmnUQXI7SNmIpAQQ6lCDfGOYtjATOfjj/7wUH8mUrlyAbXhtbnvj8drhSp59Fws8m+HuUPbbt3dOc/Mq0D8dY4WYwWaTM1lRfhbED+ABoTUts9xF7KsG4w0hh2DuL7bbNIinuPjVobWFwXxjrUzbslud/AzLgZQDrLAbd4Dh8Jq09KW+VFVyv6ARt/Ql8n0lJritWWA/J7i3zkETw1KrZuO16Uv07uqqh39qIh6OtOxsN/SYW0qbavIwNQjV0GLw0cmSx3G3DAuHRpGKfgbfmds2iKTrCGRneFkj51/FJ2kET+rpvWb+YzYAwkXX2DXBquUgdPqYILqP5FULp3ze4FS0Fb7tRu2128C83b+ri3YedvI1fvbeZLmCcjmveSP5rJs7yYzRLqS7554wpqm1ofgoLnR0hIKPxbhdkc1xk+/ESkL9K5Qwf7KVRP2mXStU5r1LgjzeLOH4ug/dfWczRLS2pY6et3HieKMlDbFkI2+1rkyf66zyJ/I0GExz6dIym19u/nR++gTYa7Qz6MGtn/j1DYmA22CuaLDHbd7XBihV7gWDo5eUPjQ8UAd5ESD0KzdtuHaIa7A4L8mYrdlu1g8JMIFwc6P68HWadwknqZM8wJK3IJ0I5Z6pfQE2G2LgANaaoP3zMuG5LS7GALtmyt05iOYZ0LZiYQPnxCNRKkn55tVx/2iYq60fjyWrbaIAS2BmS1SyZpe3xjY6l2W+wnDN1q7aWu7p5gRsvZEc4ZbFjk/puZiA1lO6gCjdn61ySpOcxxkiGZWX91259lvKTVOu9xsnzT/Qow7N9nfwpS6wMQlFlN8pfSedDCFX/2Vu5Y9JjcnPoIuw1nKwXKjgilaKTJRjfuibstdWXb3kANC3ZnBC6B/MR5ARFYUThqtRjgNy/FSAP5wUB7yI7uc/wDtmclRbtdsVimG9qJGYwVAFCMT3eMkFAoMKXulh4uoFqgbVS/RxMNwN9ahGJEW5sHl6eQ3gq4hDX5dfJbjwylBJR/MqmLvfGP0m0jNWgoCHCBExGoBj8hmRK0m5zQKbueLSkAC9Jh+JpN8IWNyy1OzTqRumdTPaF53za6WUDMgfDDnjEi4c6LISqiOPNQc3qb2dS9tjnP0lhYJ+c6AMjMFWO8w+ZOaHJFlSbY0xF9CgIkzNjyp90EP1aaA++HmbMZWOtsIQhJlB4pczfRb/8IBulCV0dhsZQVgTEfKYygVkLVGmGjrOjDyFXu+GXGazFQkS4sWgEEKdT942Ptyq5Gpg5DmlDlReY4FTN/0LZZnMgWWjbDxTakm8/LVZcJNt/Ph9lCSPuXPl1nJw7dvsXyG6B4z06e3QbLdWzhA0ZN9kp7onpmF5IDXrdS8jT9C9yvFeVrC67fZ5KXSI+f9xBoNhuvndIwuSR+RNxMqA3mFms7ZhQZXfg5qoz6qkycE2b5q3vPz4o804RdA4N9pl54fKouEKUUn0AR+N2f+iqMcOo/h2YkGZLXUUKwTnJU32R9M+WFNtDAkCpAffWcC7r4cSxueK4Lcdc2m/Rt8AZn96hmgpTNS1JXO+66I+D4H4N/yR4lb6YJnVn47QyrpQKHTtHXs6+FrR+t7mI9YQpZMiRfhGuYaQcUeDhCEEHNzbxRQt9/ZP/VgdEWGTktl3tfxs//ZxpY6aibvQ75maLydtU5/rAPzpNZs1KwVz9Eb/WnJGZTLFXfTESvkeRYeZ3IB7b31kIsq8fnJdjJxqWLDqUChNUJHtFLnH5P83uW08D8/tClFkJFK6clz/6X1sCaMewQ5yJnawnSNXn5/L/7moh225eEjxPtesjDtA6k22Ob836vlLmbv5DYW8SB/QTeKFekj9g4wxQ8gPd5QZrW5Qjm3uKxQStTthQqiMAcJE7yC7yy/KgKq1ybSvS9fiq5xKGSq3s8edlLJFZFiLr1csvGD/KW4vj/7RZemdjRGr6Ky62CGcBQCHHcL1hHRVNVrClGA3PwRIYZwPhQaWt3P38VpX6l3lllyUEqVX4nSQdr8dZoKBgEd9HThBawNpV/UouuyOmp0zXl9K65iSPY96ssFkPrtLeWSDw/vKFqPTn+DS4aaVJQ7apXAEwMBAAD0gPuYyfo3k/eVUIr0hh8Ay1aiQ7xPF7ruuGcAkH+Kh6RXzbVG1oC4P57cHaRwf1YqIlH66cAz1noBgoJrpjPp393iGdDqzO5sgvvGShMPH5AQWFf0pMpp/PhCZz6evYA/F9tSwCqApKpFUhXRRlUpdnkRpGgTevnecYdIO60Vwc8VQPTWQZXIXjcuitbBXeT38WJZu4REVASBmle3vof4Da3uuM2JBSt4E63vOYyO5mtz0kKIHHgV0fI1jW1EYhZjlWUqHKUq3Fk4KJzHgfU9eg1sJjylzYkdrkaZZiE3ROvTrI+2BzT41UjPFm6wtNVQEoN3wWkZULWq4BJGaT29KTPWC7heHLrHb9EbFRZ3k1SqvZbJR19nY992e/9WCegzkNFvS+aqNKGXrEQRx9nDO369fliwagD7dQaQ2iGHmCrNUnV48pXu5IcZYs0agnyH2gsZLh51Ar7akgyhW9TN6I8h3n776V96tpWopKgBiHMZsJhmmK7C4Hxli3xovlKnIOb/923K2i/xuGVYIDtZCtlz4b0QfI0KurkZxjlkH7Jt0QlsU2w28N9SVSYE7+w2ggAkhUQTJAfONOvhZ0n/4186uHAV9ym+0n+jdv8pSZjlxIp0PjUd3YjOEXM4UmupS4Q1LO5Kb3Hmrk31rGneWrE4diq3cPsusy2z6txMD/yldyr6WnEmQLWlgbLNtIjpJu15sq33R9FWwrwxtBGxrmxf2J/lSe0XBV1NItwTC0joe0J5BQjGHdDI2ZhaS5q0XPENF3JvNq23MzYoCKadDbNB66cSL690+8dRbM5+w3mmTI5B7OIstR5IfUzWeOenmNixrbTWWx6y0wt67VCdz20QXRe6gvz4KEcSHfYynHTsW+LsrZ/NZpemvNpvNsMFjSOdd1Lr39kGqfAia1e9b2tCvWQiBws41yhq3oej10VFVD3PdmtA2V7ZMwvHhkwsemTBzpssdmQVle+ER8sGJi4MsRN+5/iHjJQTJma7NH4hwTbxETI9YuIHY/qnGdsW0+BEwjbETWQ31t9xQgEEOam4b0kLPAxnyUAt8Yp/Z1A0pSv024FoQxRSF6ZpOTF3Uix3pCeamnaSNJcKfll8Ac2TEjIIuxaR4AD8OpVjcL5zA4PGP+RbZa4tX8Sl7TU2HDyRvLKQWbQPGP4FN8dw9AH0HsbUBtiPwxAqB27m/BnSxg8Q1FdMzDqZLrukfFvh2T939GtzVG0xDt07tL4yu/Cm9uP3ZklZhIegeo6UH5Ixak1rOYWGKSnGDs3t2lfBEQPr1OiIfD+NhL2G9t7/YUaQzwL44TVINKMuVV+hR5MGGFXQrB8QGUsyBpv3VLC0AVkQeJFBZEgXja3vPZ+18BQHCk/9ht7nINzPeSaulEK9a7Y7W4xnIIjhtY09d27EcIxWpF7lBVrb6Ml4nNT1xO93cQJBEvH7iYV2QuEHizWzfFQ8AYc+x2Wnh5GmgEtW2M6Q1amKaJ+7CKJh6MKECx6A1bKypDGFqiRYG1d80kSUCRMcqj9YZRGe1jxPYObqcO4nuzmArvn8qo7SHSVf4Z/wCl70SYP78dIcwGQ==">
            <a:extLst>
              <a:ext uri="{FF2B5EF4-FFF2-40B4-BE49-F238E27FC236}">
                <a16:creationId xmlns:a16="http://schemas.microsoft.com/office/drawing/2014/main" id="{0BB12648-BC5B-9CAF-734A-598BAAA436C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25437" y="1268413"/>
            <a:ext cx="11531600" cy="3130667"/>
          </a:xfrm>
          <a:prstGeom prst="rect">
            <a:avLst/>
          </a:prstGeom>
          <a:blipFill>
            <a:blip r:embed="rId1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DFFAC12-5FFC-4040-FB8D-EC4E5A0D1C1B}"/>
              </a:ext>
            </a:extLst>
          </p:cNvPr>
          <p:cNvSpPr/>
          <p:nvPr/>
        </p:nvSpPr>
        <p:spPr bwMode="gray">
          <a:xfrm>
            <a:off x="1114426" y="3914023"/>
            <a:ext cx="10742611" cy="5368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0DE6B94-7E0C-59DC-72EA-5B44A9B978A6}"/>
              </a:ext>
            </a:extLst>
          </p:cNvPr>
          <p:cNvSpPr/>
          <p:nvPr/>
        </p:nvSpPr>
        <p:spPr bwMode="gray">
          <a:xfrm>
            <a:off x="1128711" y="3935110"/>
            <a:ext cx="5229398" cy="276837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Enterpris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61F2AB9-9288-D760-F7B5-E5005E89525A}"/>
              </a:ext>
            </a:extLst>
          </p:cNvPr>
          <p:cNvSpPr/>
          <p:nvPr/>
        </p:nvSpPr>
        <p:spPr bwMode="gray">
          <a:xfrm>
            <a:off x="6485109" y="3935110"/>
            <a:ext cx="5229398" cy="276837"/>
          </a:xfrm>
          <a:prstGeom prst="rect">
            <a:avLst/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Not enterpris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4283CCE-E5A2-E29C-EC36-1B25DB017AA5}"/>
              </a:ext>
            </a:extLst>
          </p:cNvPr>
          <p:cNvSpPr/>
          <p:nvPr/>
        </p:nvSpPr>
        <p:spPr bwMode="gray">
          <a:xfrm>
            <a:off x="1128711" y="4267649"/>
            <a:ext cx="2535669" cy="276837"/>
          </a:xfrm>
          <a:prstGeom prst="rect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</a:rPr>
              <a:t>No non-Peer 2(x) products from Peer 2 famil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EB9CE18-45E5-A98B-F2C0-E57350B149E2}"/>
              </a:ext>
            </a:extLst>
          </p:cNvPr>
          <p:cNvSpPr/>
          <p:nvPr/>
        </p:nvSpPr>
        <p:spPr bwMode="gray">
          <a:xfrm>
            <a:off x="3797360" y="4260661"/>
            <a:ext cx="5229398" cy="276837"/>
          </a:xfrm>
          <a:prstGeom prst="rect">
            <a:avLst/>
          </a:prstGeom>
          <a:solidFill>
            <a:srgbClr val="F2DE8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000000"/>
                </a:solidFill>
              </a:rPr>
              <a:t>1+ non-Peer 2(x) products from Peer 2 famil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6CEAF6C-29D4-C085-7E09-D564E9077F35}"/>
              </a:ext>
            </a:extLst>
          </p:cNvPr>
          <p:cNvSpPr/>
          <p:nvPr/>
        </p:nvSpPr>
        <p:spPr bwMode="gray">
          <a:xfrm>
            <a:off x="1114426" y="4604293"/>
            <a:ext cx="1213885" cy="346676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474AD53-C315-9EEC-A642-43D71164AE8C}"/>
              </a:ext>
            </a:extLst>
          </p:cNvPr>
          <p:cNvSpPr/>
          <p:nvPr/>
        </p:nvSpPr>
        <p:spPr bwMode="gray">
          <a:xfrm>
            <a:off x="2455311" y="4604293"/>
            <a:ext cx="1213885" cy="346676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46123D2-5400-D790-FFFF-941FEF11849E}"/>
              </a:ext>
            </a:extLst>
          </p:cNvPr>
          <p:cNvSpPr/>
          <p:nvPr/>
        </p:nvSpPr>
        <p:spPr bwMode="gray">
          <a:xfrm>
            <a:off x="9159738" y="4267649"/>
            <a:ext cx="2554770" cy="276837"/>
          </a:xfrm>
          <a:prstGeom prst="rect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900" b="1" dirty="0">
                <a:solidFill>
                  <a:srgbClr val="FFFFFF"/>
                </a:solidFill>
              </a:rPr>
              <a:t>No non-Peer 2(x) products from Peer 2 family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892A65B-77CF-198A-6936-CF471CA584D6}"/>
              </a:ext>
            </a:extLst>
          </p:cNvPr>
          <p:cNvSpPr/>
          <p:nvPr/>
        </p:nvSpPr>
        <p:spPr bwMode="gray">
          <a:xfrm>
            <a:off x="3796196" y="4604293"/>
            <a:ext cx="1213885" cy="346676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38F6A1B-29E9-3C4F-2223-0D980187B16F}"/>
              </a:ext>
            </a:extLst>
          </p:cNvPr>
          <p:cNvSpPr/>
          <p:nvPr/>
        </p:nvSpPr>
        <p:spPr bwMode="gray">
          <a:xfrm>
            <a:off x="5137082" y="4604293"/>
            <a:ext cx="1213885" cy="346676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1F94AC1-FC00-B11B-880E-E3511B998602}"/>
              </a:ext>
            </a:extLst>
          </p:cNvPr>
          <p:cNvSpPr/>
          <p:nvPr/>
        </p:nvSpPr>
        <p:spPr bwMode="gray">
          <a:xfrm>
            <a:off x="6477967" y="4604293"/>
            <a:ext cx="1213885" cy="346676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499929A-DA93-70EF-EF7A-ECE9F06198C0}"/>
              </a:ext>
            </a:extLst>
          </p:cNvPr>
          <p:cNvSpPr/>
          <p:nvPr/>
        </p:nvSpPr>
        <p:spPr bwMode="gray">
          <a:xfrm>
            <a:off x="7818852" y="4604293"/>
            <a:ext cx="1213885" cy="346676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A92052-0448-80F0-D048-3E833D0C0B5C}"/>
              </a:ext>
            </a:extLst>
          </p:cNvPr>
          <p:cNvSpPr/>
          <p:nvPr/>
        </p:nvSpPr>
        <p:spPr bwMode="gray">
          <a:xfrm>
            <a:off x="9159737" y="4604293"/>
            <a:ext cx="1213885" cy="346676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308B170-3AEB-E1FF-9C2E-53A11147935B}"/>
              </a:ext>
            </a:extLst>
          </p:cNvPr>
          <p:cNvSpPr/>
          <p:nvPr/>
        </p:nvSpPr>
        <p:spPr bwMode="gray">
          <a:xfrm>
            <a:off x="10500622" y="4604293"/>
            <a:ext cx="1213885" cy="346676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094FF1C-BECA-8160-D76C-AF59D9F19865}"/>
              </a:ext>
            </a:extLst>
          </p:cNvPr>
          <p:cNvSpPr/>
          <p:nvPr/>
        </p:nvSpPr>
        <p:spPr bwMode="gray">
          <a:xfrm>
            <a:off x="368300" y="5107975"/>
            <a:ext cx="830185" cy="226396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rgbClr val="FFFFFF"/>
                </a:solidFill>
              </a:rPr>
              <a:t>Target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F0A40CE7-9B77-CA8A-0426-FF33D33B508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966478" y="983570"/>
            <a:ext cx="213378" cy="225572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25565B40-F4BA-C177-E7C3-89B79BD1878C}"/>
              </a:ext>
            </a:extLst>
          </p:cNvPr>
          <p:cNvSpPr/>
          <p:nvPr/>
        </p:nvSpPr>
        <p:spPr bwMode="gray">
          <a:xfrm>
            <a:off x="9201646" y="985648"/>
            <a:ext cx="1108476" cy="22141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1000">
                <a:solidFill>
                  <a:schemeClr val="tx1"/>
                </a:solidFill>
              </a:rPr>
              <a:t>Right to win</a:t>
            </a:r>
          </a:p>
        </p:txBody>
      </p:sp>
      <p:sp>
        <p:nvSpPr>
          <p:cNvPr id="5" name="btfpNotesBox251781">
            <a:extLst>
              <a:ext uri="{FF2B5EF4-FFF2-40B4-BE49-F238E27FC236}">
                <a16:creationId xmlns:a16="http://schemas.microsoft.com/office/drawing/2014/main" id="{DBC51372-5535-6B6B-3274-84CFAF1DA1A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“Prioritizes ease of use” defined as rating “Easy to use / intuitive user interface” among top 3 KPC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</a:t>
            </a:r>
          </a:p>
        </p:txBody>
      </p:sp>
      <p:grpSp>
        <p:nvGrpSpPr>
          <p:cNvPr id="16" name="btfpRunningAgenda2Level301519">
            <a:extLst>
              <a:ext uri="{FF2B5EF4-FFF2-40B4-BE49-F238E27FC236}">
                <a16:creationId xmlns:a16="http://schemas.microsoft.com/office/drawing/2014/main" id="{CBAF2B04-237D-F6C1-4892-57ACCB1A4672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5064"/>
            <a:ext cx="6455992" cy="257442"/>
            <a:chOff x="0" y="876300"/>
            <a:chExt cx="6455992" cy="257442"/>
          </a:xfrm>
        </p:grpSpPr>
        <p:sp>
          <p:nvSpPr>
            <p:cNvPr id="17" name="btfpRunningAgenda2LevelBarLeft301519">
              <a:extLst>
                <a:ext uri="{FF2B5EF4-FFF2-40B4-BE49-F238E27FC236}">
                  <a16:creationId xmlns:a16="http://schemas.microsoft.com/office/drawing/2014/main" id="{07E7A76E-CDC7-932A-2BE9-DA49F440C92C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" name="btfpRunningAgenda2LevelTextLeft301519">
              <a:extLst>
                <a:ext uri="{FF2B5EF4-FFF2-40B4-BE49-F238E27FC236}">
                  <a16:creationId xmlns:a16="http://schemas.microsoft.com/office/drawing/2014/main" id="{629F27C2-D39C-FB36-9C51-1962BC1D3BE7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19" name="btfpRunningAgenda2LevelBarRight301519">
              <a:extLst>
                <a:ext uri="{FF2B5EF4-FFF2-40B4-BE49-F238E27FC236}">
                  <a16:creationId xmlns:a16="http://schemas.microsoft.com/office/drawing/2014/main" id="{37AEABB2-7B0F-2FE9-B7FC-BB3F0708A600}"/>
                </a:ext>
              </a:extLst>
            </p:cNvPr>
            <p:cNvSpPr/>
            <p:nvPr/>
          </p:nvSpPr>
          <p:spPr bwMode="gray">
            <a:xfrm>
              <a:off x="3903341" y="876300"/>
              <a:ext cx="2552651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50802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01006 w 1701006"/>
                <a:gd name="connsiteY0" fmla="*/ 0 h 257442"/>
                <a:gd name="connsiteX1" fmla="*/ 1393011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6 w 1701006"/>
                <a:gd name="connsiteY0" fmla="*/ 0 h 257442"/>
                <a:gd name="connsiteX1" fmla="*/ 1646285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1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2 w 1701007"/>
                <a:gd name="connsiteY3" fmla="*/ 0 h 257442"/>
                <a:gd name="connsiteX0" fmla="*/ 1876184 w 1876184"/>
                <a:gd name="connsiteY0" fmla="*/ 0 h 257442"/>
                <a:gd name="connsiteX1" fmla="*/ 1646286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1 w 1876184"/>
                <a:gd name="connsiteY3" fmla="*/ 0 h 257442"/>
                <a:gd name="connsiteX0" fmla="*/ 2145487 w 2145487"/>
                <a:gd name="connsiteY0" fmla="*/ 0 h 257442"/>
                <a:gd name="connsiteX1" fmla="*/ 1821462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305787 w 2305787"/>
                <a:gd name="connsiteY0" fmla="*/ 0 h 257442"/>
                <a:gd name="connsiteX1" fmla="*/ 20907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474102 w 2474102"/>
                <a:gd name="connsiteY0" fmla="*/ 0 h 257442"/>
                <a:gd name="connsiteX1" fmla="*/ 2251066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2 w 2474102"/>
                <a:gd name="connsiteY0" fmla="*/ 0 h 257442"/>
                <a:gd name="connsiteX1" fmla="*/ 2419380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642419 w 2642419"/>
                <a:gd name="connsiteY0" fmla="*/ 0 h 257442"/>
                <a:gd name="connsiteX1" fmla="*/ 2419381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8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0 w 2642418"/>
                <a:gd name="connsiteY3" fmla="*/ 0 h 257442"/>
                <a:gd name="connsiteX0" fmla="*/ 2474101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0 w 2587697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1 w 2474101"/>
                <a:gd name="connsiteY3" fmla="*/ 0 h 257442"/>
                <a:gd name="connsiteX0" fmla="*/ 2642418 w 2642418"/>
                <a:gd name="connsiteY0" fmla="*/ 0 h 257442"/>
                <a:gd name="connsiteX1" fmla="*/ 2419381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6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541429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2 w 2587697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54722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1 w 2541428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0 w 2541428"/>
                <a:gd name="connsiteY3" fmla="*/ 0 h 257442"/>
                <a:gd name="connsiteX0" fmla="*/ 942785 w 2486707"/>
                <a:gd name="connsiteY0" fmla="*/ 0 h 257442"/>
                <a:gd name="connsiteX1" fmla="*/ 2486707 w 2486707"/>
                <a:gd name="connsiteY1" fmla="*/ 257442 h 257442"/>
                <a:gd name="connsiteX2" fmla="*/ 0 w 2486707"/>
                <a:gd name="connsiteY2" fmla="*/ 257442 h 257442"/>
                <a:gd name="connsiteX3" fmla="*/ 54720 w 2486707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5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950801 w 1665522"/>
                <a:gd name="connsiteY0" fmla="*/ 0 h 257442"/>
                <a:gd name="connsiteX1" fmla="*/ 1665522 w 1665522"/>
                <a:gd name="connsiteY1" fmla="*/ 257442 h 257442"/>
                <a:gd name="connsiteX2" fmla="*/ 0 w 1665522"/>
                <a:gd name="connsiteY2" fmla="*/ 257442 h 257442"/>
                <a:gd name="connsiteX3" fmla="*/ 54721 w 166552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398038 w 1398038"/>
                <a:gd name="connsiteY0" fmla="*/ 0 h 257442"/>
                <a:gd name="connsiteX1" fmla="*/ 1175003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651313 w 1651313"/>
                <a:gd name="connsiteY0" fmla="*/ 0 h 257442"/>
                <a:gd name="connsiteX1" fmla="*/ 1343317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978775 w 1978775"/>
                <a:gd name="connsiteY0" fmla="*/ 0 h 257442"/>
                <a:gd name="connsiteX1" fmla="*/ 1596592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2283345 w 2283345"/>
                <a:gd name="connsiteY0" fmla="*/ 0 h 257442"/>
                <a:gd name="connsiteX1" fmla="*/ 192405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552650 w 2552650"/>
                <a:gd name="connsiteY0" fmla="*/ 0 h 257442"/>
                <a:gd name="connsiteX1" fmla="*/ 2228624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0 w 2552650"/>
                <a:gd name="connsiteY0" fmla="*/ 0 h 257442"/>
                <a:gd name="connsiteX1" fmla="*/ 2497928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2651" h="257442">
                  <a:moveTo>
                    <a:pt x="2552651" y="0"/>
                  </a:moveTo>
                  <a:lnTo>
                    <a:pt x="2497929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0" name="btfpRunningAgenda2LevelTextRight301519">
              <a:extLst>
                <a:ext uri="{FF2B5EF4-FFF2-40B4-BE49-F238E27FC236}">
                  <a16:creationId xmlns:a16="http://schemas.microsoft.com/office/drawing/2014/main" id="{89F72D33-A710-E056-F4EF-993EA8E9ABCC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2497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Right to win</a:t>
              </a:r>
            </a:p>
          </p:txBody>
        </p:sp>
      </p:grpSp>
      <p:grpSp>
        <p:nvGrpSpPr>
          <p:cNvPr id="15" name="btfpStatusSticker891145">
            <a:extLst>
              <a:ext uri="{FF2B5EF4-FFF2-40B4-BE49-F238E27FC236}">
                <a16:creationId xmlns:a16="http://schemas.microsoft.com/office/drawing/2014/main" id="{96629A44-5258-9E9B-9EE8-989ED5DE44D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11" name="btfpStatusStickerText891145">
              <a:extLst>
                <a:ext uri="{FF2B5EF4-FFF2-40B4-BE49-F238E27FC236}">
                  <a16:creationId xmlns:a16="http://schemas.microsoft.com/office/drawing/2014/main" id="{B149C420-2DD0-8392-D036-CE5F9822A5FA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14" name="btfpStatusStickerLine891145">
              <a:extLst>
                <a:ext uri="{FF2B5EF4-FFF2-40B4-BE49-F238E27FC236}">
                  <a16:creationId xmlns:a16="http://schemas.microsoft.com/office/drawing/2014/main" id="{868751D8-8D16-2D2D-C08A-0EE03A4A60EC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A14B398-8A08-F46D-2773-51AD36835EF0}"/>
              </a:ext>
            </a:extLst>
          </p:cNvPr>
          <p:cNvGrpSpPr/>
          <p:nvPr/>
        </p:nvGrpSpPr>
        <p:grpSpPr>
          <a:xfrm>
            <a:off x="11376783" y="-10140"/>
            <a:ext cx="1039529" cy="822960"/>
            <a:chOff x="11356523" y="-1664"/>
            <a:chExt cx="1039529" cy="822960"/>
          </a:xfrm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DC2C58FC-F966-B2B6-2F23-8FB77618A6E9}"/>
                </a:ext>
              </a:extLst>
            </p:cNvPr>
            <p:cNvSpPr/>
            <p:nvPr/>
          </p:nvSpPr>
          <p:spPr bwMode="gray">
            <a:xfrm rot="5400000">
              <a:off x="11369038" y="-1664"/>
              <a:ext cx="822960" cy="822960"/>
            </a:xfrm>
            <a:prstGeom prst="diagStripe">
              <a:avLst/>
            </a:prstGeom>
            <a:solidFill>
              <a:srgbClr val="83AC9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EB66D0-B98E-BA80-00C8-61334BD20E13}"/>
                </a:ext>
              </a:extLst>
            </p:cNvPr>
            <p:cNvSpPr txBox="1"/>
            <p:nvPr/>
          </p:nvSpPr>
          <p:spPr bwMode="gray">
            <a:xfrm rot="2686905">
              <a:off x="11356523" y="160032"/>
              <a:ext cx="103952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indent="0" algn="ctr">
                <a:buNone/>
              </a:pPr>
              <a:r>
                <a:rPr lang="en-US" sz="1400" b="1">
                  <a:solidFill>
                    <a:srgbClr val="FFFFFF"/>
                  </a:solidFill>
                </a:rPr>
                <a:t>New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9F621E3-9BC9-0085-CA08-7F8FD6A54083}"/>
              </a:ext>
            </a:extLst>
          </p:cNvPr>
          <p:cNvSpPr/>
          <p:nvPr/>
        </p:nvSpPr>
        <p:spPr bwMode="gray">
          <a:xfrm>
            <a:off x="6523436" y="913114"/>
            <a:ext cx="2334162" cy="334422"/>
          </a:xfrm>
          <a:prstGeom prst="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Note: Simpler version (removing ease of use prioritization) in appendi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15651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think-cell data - do not delete" hidden="1">
            <a:extLst>
              <a:ext uri="{FF2B5EF4-FFF2-40B4-BE49-F238E27FC236}">
                <a16:creationId xmlns:a16="http://schemas.microsoft.com/office/drawing/2014/main" id="{5ABEA67E-39B4-62E4-A081-33203C2B3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380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7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BEA67E-39B4-62E4-A081-33203C2B3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4" name="Group 73">
            <a:extLst>
              <a:ext uri="{FF2B5EF4-FFF2-40B4-BE49-F238E27FC236}">
                <a16:creationId xmlns:a16="http://schemas.microsoft.com/office/drawing/2014/main" id="{D2ADA2F2-E7DA-BBB0-5DAA-73A4D845E76D}"/>
              </a:ext>
            </a:extLst>
          </p:cNvPr>
          <p:cNvGrpSpPr/>
          <p:nvPr/>
        </p:nvGrpSpPr>
        <p:grpSpPr>
          <a:xfrm>
            <a:off x="11376783" y="-10140"/>
            <a:ext cx="1039529" cy="822960"/>
            <a:chOff x="11356523" y="-1664"/>
            <a:chExt cx="1039529" cy="822960"/>
          </a:xfrm>
        </p:grpSpPr>
        <p:sp>
          <p:nvSpPr>
            <p:cNvPr id="75" name="Diagonal Stripe 74">
              <a:extLst>
                <a:ext uri="{FF2B5EF4-FFF2-40B4-BE49-F238E27FC236}">
                  <a16:creationId xmlns:a16="http://schemas.microsoft.com/office/drawing/2014/main" id="{D8232990-D048-0A6E-1C87-E251754A30C5}"/>
                </a:ext>
              </a:extLst>
            </p:cNvPr>
            <p:cNvSpPr/>
            <p:nvPr/>
          </p:nvSpPr>
          <p:spPr bwMode="gray">
            <a:xfrm rot="5400000">
              <a:off x="11369038" y="-1664"/>
              <a:ext cx="822960" cy="822960"/>
            </a:xfrm>
            <a:prstGeom prst="diagStripe">
              <a:avLst/>
            </a:prstGeom>
            <a:solidFill>
              <a:srgbClr val="83AC9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088C01C-1AAC-34D3-D7DB-D0EA690A921A}"/>
                </a:ext>
              </a:extLst>
            </p:cNvPr>
            <p:cNvSpPr txBox="1"/>
            <p:nvPr/>
          </p:nvSpPr>
          <p:spPr bwMode="gray">
            <a:xfrm rot="2686905">
              <a:off x="11356523" y="160032"/>
              <a:ext cx="103952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indent="0" algn="ctr">
                <a:buNone/>
              </a:pPr>
              <a:r>
                <a:rPr lang="en-US" sz="1400" b="1">
                  <a:solidFill>
                    <a:srgbClr val="FFFFFF"/>
                  </a:solidFill>
                </a:rPr>
                <a:t>New</a:t>
              </a:r>
            </a:p>
          </p:txBody>
        </p:sp>
      </p:grpSp>
      <p:grpSp>
        <p:nvGrpSpPr>
          <p:cNvPr id="50" name="btfpColumnIndicatorGroup2">
            <a:extLst>
              <a:ext uri="{FF2B5EF4-FFF2-40B4-BE49-F238E27FC236}">
                <a16:creationId xmlns:a16="http://schemas.microsoft.com/office/drawing/2014/main" id="{21FDB439-4D94-C79A-795D-B025D33D786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8" name="btfpColumnGapBlocker334852">
              <a:extLst>
                <a:ext uri="{FF2B5EF4-FFF2-40B4-BE49-F238E27FC236}">
                  <a16:creationId xmlns:a16="http://schemas.microsoft.com/office/drawing/2014/main" id="{59115EC5-3A50-364F-3097-3EAEEE2D3EB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6" name="btfpColumnGapBlocker946485">
              <a:extLst>
                <a:ext uri="{FF2B5EF4-FFF2-40B4-BE49-F238E27FC236}">
                  <a16:creationId xmlns:a16="http://schemas.microsoft.com/office/drawing/2014/main" id="{6B5261D0-59C2-A166-9628-FC099C8E49FE}"/>
                </a:ext>
              </a:extLst>
            </p:cNvPr>
            <p:cNvSpPr/>
            <p:nvPr/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4" name="btfpColumnIndicator642081">
              <a:extLst>
                <a:ext uri="{FF2B5EF4-FFF2-40B4-BE49-F238E27FC236}">
                  <a16:creationId xmlns:a16="http://schemas.microsoft.com/office/drawing/2014/main" id="{A90E381E-0380-CD83-2072-DC83E2008A3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btfpColumnIndicator844776">
              <a:extLst>
                <a:ext uri="{FF2B5EF4-FFF2-40B4-BE49-F238E27FC236}">
                  <a16:creationId xmlns:a16="http://schemas.microsoft.com/office/drawing/2014/main" id="{E764519C-02B9-1F76-C180-AD045B550C47}"/>
                </a:ext>
              </a:extLst>
            </p:cNvPr>
            <p:cNvCxnSpPr/>
            <p:nvPr/>
          </p:nvCxnSpPr>
          <p:spPr bwMode="gray">
            <a:xfrm flipV="1">
              <a:off x="938430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btfpColumnGapBlocker451260">
              <a:extLst>
                <a:ext uri="{FF2B5EF4-FFF2-40B4-BE49-F238E27FC236}">
                  <a16:creationId xmlns:a16="http://schemas.microsoft.com/office/drawing/2014/main" id="{F0FBD4A1-810E-77F6-DFE8-5FAE20DF2A83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729825">
              <a:extLst>
                <a:ext uri="{FF2B5EF4-FFF2-40B4-BE49-F238E27FC236}">
                  <a16:creationId xmlns:a16="http://schemas.microsoft.com/office/drawing/2014/main" id="{918C0ACD-BEE0-5387-D5F8-D8780BBD52E9}"/>
                </a:ext>
              </a:extLst>
            </p:cNvPr>
            <p:cNvCxnSpPr/>
            <p:nvPr/>
          </p:nvCxnSpPr>
          <p:spPr bwMode="gray">
            <a:xfrm flipV="1">
              <a:off x="884376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tfpColumnIndicator976933">
              <a:extLst>
                <a:ext uri="{FF2B5EF4-FFF2-40B4-BE49-F238E27FC236}">
                  <a16:creationId xmlns:a16="http://schemas.microsoft.com/office/drawing/2014/main" id="{AFD4BD26-7878-310E-0521-0E32986FF225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btfpColumnGapBlocker291803">
              <a:extLst>
                <a:ext uri="{FF2B5EF4-FFF2-40B4-BE49-F238E27FC236}">
                  <a16:creationId xmlns:a16="http://schemas.microsoft.com/office/drawing/2014/main" id="{CE928653-A6D3-FED0-7237-F7A05EC4B66B}"/>
                </a:ext>
              </a:extLst>
            </p:cNvPr>
            <p:cNvSpPr/>
            <p:nvPr/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2" name="btfpColumnIndicator848854">
              <a:extLst>
                <a:ext uri="{FF2B5EF4-FFF2-40B4-BE49-F238E27FC236}">
                  <a16:creationId xmlns:a16="http://schemas.microsoft.com/office/drawing/2014/main" id="{5AFEAD8E-888F-B7F9-B2A2-D148BB262BD7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btfpColumnIndicator844871">
              <a:extLst>
                <a:ext uri="{FF2B5EF4-FFF2-40B4-BE49-F238E27FC236}">
                  <a16:creationId xmlns:a16="http://schemas.microsoft.com/office/drawing/2014/main" id="{1D3CE056-2A96-BFF2-A705-C029F84A34E2}"/>
                </a:ext>
              </a:extLst>
            </p:cNvPr>
            <p:cNvCxnSpPr/>
            <p:nvPr/>
          </p:nvCxnSpPr>
          <p:spPr bwMode="gray">
            <a:xfrm flipV="1">
              <a:off x="334823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btfpColumnGapBlocker495186">
              <a:extLst>
                <a:ext uri="{FF2B5EF4-FFF2-40B4-BE49-F238E27FC236}">
                  <a16:creationId xmlns:a16="http://schemas.microsoft.com/office/drawing/2014/main" id="{4ED0DC73-E202-7D7F-8A29-C1B2C7FB703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493432">
              <a:extLst>
                <a:ext uri="{FF2B5EF4-FFF2-40B4-BE49-F238E27FC236}">
                  <a16:creationId xmlns:a16="http://schemas.microsoft.com/office/drawing/2014/main" id="{0CF7BE07-82FD-1AE6-81F0-C0A47B67BBB3}"/>
                </a:ext>
              </a:extLst>
            </p:cNvPr>
            <p:cNvCxnSpPr/>
            <p:nvPr/>
          </p:nvCxnSpPr>
          <p:spPr bwMode="gray">
            <a:xfrm flipV="1">
              <a:off x="280769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811241">
              <a:extLst>
                <a:ext uri="{FF2B5EF4-FFF2-40B4-BE49-F238E27FC236}">
                  <a16:creationId xmlns:a16="http://schemas.microsoft.com/office/drawing/2014/main" id="{46F7C477-CF70-66A1-00DB-B9B1D2438E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btfpColumnIndicatorGroup1">
            <a:extLst>
              <a:ext uri="{FF2B5EF4-FFF2-40B4-BE49-F238E27FC236}">
                <a16:creationId xmlns:a16="http://schemas.microsoft.com/office/drawing/2014/main" id="{42DD9E6D-C302-B9A8-489A-EF9A1B80EBB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7" name="btfpColumnGapBlocker808543">
              <a:extLst>
                <a:ext uri="{FF2B5EF4-FFF2-40B4-BE49-F238E27FC236}">
                  <a16:creationId xmlns:a16="http://schemas.microsoft.com/office/drawing/2014/main" id="{4FD11F6F-C5C4-570A-A06F-A460012830C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ColumnGapBlocker199011">
              <a:extLst>
                <a:ext uri="{FF2B5EF4-FFF2-40B4-BE49-F238E27FC236}">
                  <a16:creationId xmlns:a16="http://schemas.microsoft.com/office/drawing/2014/main" id="{D5C25BCC-4506-A0A0-1F85-31F0F0CFB730}"/>
                </a:ext>
              </a:extLst>
            </p:cNvPr>
            <p:cNvSpPr/>
            <p:nvPr/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759674">
              <a:extLst>
                <a:ext uri="{FF2B5EF4-FFF2-40B4-BE49-F238E27FC236}">
                  <a16:creationId xmlns:a16="http://schemas.microsoft.com/office/drawing/2014/main" id="{A6D2C9B5-8E4E-FB7A-2774-868B0DBF44A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btfpColumnIndicator631435">
              <a:extLst>
                <a:ext uri="{FF2B5EF4-FFF2-40B4-BE49-F238E27FC236}">
                  <a16:creationId xmlns:a16="http://schemas.microsoft.com/office/drawing/2014/main" id="{EF4EB304-E76F-CAE5-8D4E-9B2FA81013C2}"/>
                </a:ext>
              </a:extLst>
            </p:cNvPr>
            <p:cNvCxnSpPr/>
            <p:nvPr/>
          </p:nvCxnSpPr>
          <p:spPr bwMode="gray">
            <a:xfrm flipV="1">
              <a:off x="938430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btfpColumnGapBlocker567581">
              <a:extLst>
                <a:ext uri="{FF2B5EF4-FFF2-40B4-BE49-F238E27FC236}">
                  <a16:creationId xmlns:a16="http://schemas.microsoft.com/office/drawing/2014/main" id="{DBD5BD81-1210-FEA6-DFEE-CB6BA7DD3FBE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100371">
              <a:extLst>
                <a:ext uri="{FF2B5EF4-FFF2-40B4-BE49-F238E27FC236}">
                  <a16:creationId xmlns:a16="http://schemas.microsoft.com/office/drawing/2014/main" id="{EEDA1561-6C8D-08F1-1095-4FED93022018}"/>
                </a:ext>
              </a:extLst>
            </p:cNvPr>
            <p:cNvCxnSpPr/>
            <p:nvPr/>
          </p:nvCxnSpPr>
          <p:spPr bwMode="gray">
            <a:xfrm flipV="1">
              <a:off x="884376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932563">
              <a:extLst>
                <a:ext uri="{FF2B5EF4-FFF2-40B4-BE49-F238E27FC236}">
                  <a16:creationId xmlns:a16="http://schemas.microsoft.com/office/drawing/2014/main" id="{B669D3DF-DC6A-B1BE-ED74-D1691A7C3BC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ColumnGapBlocker381585">
              <a:extLst>
                <a:ext uri="{FF2B5EF4-FFF2-40B4-BE49-F238E27FC236}">
                  <a16:creationId xmlns:a16="http://schemas.microsoft.com/office/drawing/2014/main" id="{70635CFC-3546-9D7C-025A-30FD182C075D}"/>
                </a:ext>
              </a:extLst>
            </p:cNvPr>
            <p:cNvSpPr/>
            <p:nvPr/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btfpColumnIndicator563712">
              <a:extLst>
                <a:ext uri="{FF2B5EF4-FFF2-40B4-BE49-F238E27FC236}">
                  <a16:creationId xmlns:a16="http://schemas.microsoft.com/office/drawing/2014/main" id="{EFB35FC7-41DB-DC51-BCC7-8D4EBD59D325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btfpColumnIndicator831492">
              <a:extLst>
                <a:ext uri="{FF2B5EF4-FFF2-40B4-BE49-F238E27FC236}">
                  <a16:creationId xmlns:a16="http://schemas.microsoft.com/office/drawing/2014/main" id="{72C65B3F-0A1D-13AC-8D17-4C5B2AF2A714}"/>
                </a:ext>
              </a:extLst>
            </p:cNvPr>
            <p:cNvCxnSpPr/>
            <p:nvPr/>
          </p:nvCxnSpPr>
          <p:spPr bwMode="gray">
            <a:xfrm flipV="1">
              <a:off x="334823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btfpColumnGapBlocker795227">
              <a:extLst>
                <a:ext uri="{FF2B5EF4-FFF2-40B4-BE49-F238E27FC236}">
                  <a16:creationId xmlns:a16="http://schemas.microsoft.com/office/drawing/2014/main" id="{F0EBF9AC-DD39-6984-CB92-BB53C02B31F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273776">
              <a:extLst>
                <a:ext uri="{FF2B5EF4-FFF2-40B4-BE49-F238E27FC236}">
                  <a16:creationId xmlns:a16="http://schemas.microsoft.com/office/drawing/2014/main" id="{2C1105DC-EF80-C0E5-AD9F-29A6C6F759F4}"/>
                </a:ext>
              </a:extLst>
            </p:cNvPr>
            <p:cNvCxnSpPr/>
            <p:nvPr/>
          </p:nvCxnSpPr>
          <p:spPr bwMode="gray">
            <a:xfrm flipV="1">
              <a:off x="280769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195425">
              <a:extLst>
                <a:ext uri="{FF2B5EF4-FFF2-40B4-BE49-F238E27FC236}">
                  <a16:creationId xmlns:a16="http://schemas.microsoft.com/office/drawing/2014/main" id="{3CA0E1AF-9750-0E9B-3ACA-BDC8FD4B097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EA74B4-5724-A801-3049-12BCA529B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/>
              <a:t>Target sweet spot </a:t>
            </a:r>
            <a:r>
              <a:rPr lang="en-US" sz="2000" dirty="0"/>
              <a:t>| Target is considered, winning more often in sweet spot segments when non-Peer 2(x) products from the Peer 2 family are not present or customer prioritizes ease of use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07197D59-F9E2-3D78-D803-9E5DC1C34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662962"/>
              </p:ext>
            </p:extLst>
          </p:nvPr>
        </p:nvGraphicFramePr>
        <p:xfrm>
          <a:off x="330200" y="1963282"/>
          <a:ext cx="2487168" cy="2103120"/>
        </p:xfrm>
        <a:graphic>
          <a:graphicData uri="http://schemas.openxmlformats.org/drawingml/2006/table">
            <a:tbl>
              <a:tblPr firstRow="1" firstCol="1"/>
              <a:tblGrid>
                <a:gridCol w="795528">
                  <a:extLst>
                    <a:ext uri="{9D8B030D-6E8A-4147-A177-3AD203B41FA5}">
                      <a16:colId xmlns:a16="http://schemas.microsoft.com/office/drawing/2014/main" val="1353661684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228137586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21096755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441831606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587365849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41751449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941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20167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4985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3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62011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42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7134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731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119477"/>
                  </a:ext>
                </a:extLst>
              </a:tr>
            </a:tbl>
          </a:graphicData>
        </a:graphic>
      </p:graphicFrame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B42694AE-8508-2BF0-1179-75324908F3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072873"/>
              </p:ext>
            </p:extLst>
          </p:nvPr>
        </p:nvGraphicFramePr>
        <p:xfrm>
          <a:off x="330200" y="4155814"/>
          <a:ext cx="2475111" cy="2103120"/>
        </p:xfrm>
        <a:graphic>
          <a:graphicData uri="http://schemas.openxmlformats.org/drawingml/2006/table">
            <a:tbl>
              <a:tblPr firstRow="1" firstCol="1"/>
              <a:tblGrid>
                <a:gridCol w="796831">
                  <a:extLst>
                    <a:ext uri="{9D8B030D-6E8A-4147-A177-3AD203B41FA5}">
                      <a16:colId xmlns:a16="http://schemas.microsoft.com/office/drawing/2014/main" val="1353661684"/>
                    </a:ext>
                  </a:extLst>
                </a:gridCol>
                <a:gridCol w="335656">
                  <a:extLst>
                    <a:ext uri="{9D8B030D-6E8A-4147-A177-3AD203B41FA5}">
                      <a16:colId xmlns:a16="http://schemas.microsoft.com/office/drawing/2014/main" val="1228137586"/>
                    </a:ext>
                  </a:extLst>
                </a:gridCol>
                <a:gridCol w="335656">
                  <a:extLst>
                    <a:ext uri="{9D8B030D-6E8A-4147-A177-3AD203B41FA5}">
                      <a16:colId xmlns:a16="http://schemas.microsoft.com/office/drawing/2014/main" val="2210967552"/>
                    </a:ext>
                  </a:extLst>
                </a:gridCol>
                <a:gridCol w="335656">
                  <a:extLst>
                    <a:ext uri="{9D8B030D-6E8A-4147-A177-3AD203B41FA5}">
                      <a16:colId xmlns:a16="http://schemas.microsoft.com/office/drawing/2014/main" val="1441831606"/>
                    </a:ext>
                  </a:extLst>
                </a:gridCol>
                <a:gridCol w="335656">
                  <a:extLst>
                    <a:ext uri="{9D8B030D-6E8A-4147-A177-3AD203B41FA5}">
                      <a16:colId xmlns:a16="http://schemas.microsoft.com/office/drawing/2014/main" val="2587365849"/>
                    </a:ext>
                  </a:extLst>
                </a:gridCol>
                <a:gridCol w="335656">
                  <a:extLst>
                    <a:ext uri="{9D8B030D-6E8A-4147-A177-3AD203B41FA5}">
                      <a16:colId xmlns:a16="http://schemas.microsoft.com/office/drawing/2014/main" val="417514496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selected of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941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20167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4985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3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62011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42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7134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7318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119477"/>
                  </a:ext>
                </a:extLst>
              </a:tr>
            </a:tbl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3D05893F-4DC4-160E-73D8-751FA08DD319}"/>
              </a:ext>
            </a:extLst>
          </p:cNvPr>
          <p:cNvSpPr/>
          <p:nvPr/>
        </p:nvSpPr>
        <p:spPr bwMode="gray">
          <a:xfrm>
            <a:off x="330200" y="1591319"/>
            <a:ext cx="1213884" cy="334973"/>
          </a:xfrm>
          <a:prstGeom prst="rect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</a:rPr>
              <a:t>No non-Peer 2(x) products from Peer 2 famil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02B1772-1F91-3F9F-7464-DED64BE1D892}"/>
              </a:ext>
            </a:extLst>
          </p:cNvPr>
          <p:cNvSpPr/>
          <p:nvPr/>
        </p:nvSpPr>
        <p:spPr bwMode="gray">
          <a:xfrm>
            <a:off x="1593805" y="1591319"/>
            <a:ext cx="1213885" cy="334973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D97345-7586-B704-5BA6-F041BB9EBD55}"/>
              </a:ext>
            </a:extLst>
          </p:cNvPr>
          <p:cNvSpPr/>
          <p:nvPr/>
        </p:nvSpPr>
        <p:spPr bwMode="gray">
          <a:xfrm>
            <a:off x="3348237" y="1591319"/>
            <a:ext cx="1213884" cy="334973"/>
          </a:xfrm>
          <a:prstGeom prst="rect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FFFFFF"/>
                </a:solidFill>
              </a:rPr>
              <a:t>No non-Peer 2(x) products from Peer 2 famil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C7A7DE5-080B-8C6E-E7E8-059BDFDFC020}"/>
              </a:ext>
            </a:extLst>
          </p:cNvPr>
          <p:cNvSpPr/>
          <p:nvPr/>
        </p:nvSpPr>
        <p:spPr bwMode="gray">
          <a:xfrm>
            <a:off x="4611843" y="1591319"/>
            <a:ext cx="1213885" cy="334973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71A5E65-471E-83E4-FCC4-D1E85B60A9CE}"/>
              </a:ext>
            </a:extLst>
          </p:cNvPr>
          <p:cNvSpPr/>
          <p:nvPr/>
        </p:nvSpPr>
        <p:spPr bwMode="gray">
          <a:xfrm>
            <a:off x="6366273" y="1591319"/>
            <a:ext cx="1213884" cy="334973"/>
          </a:xfrm>
          <a:prstGeom prst="rect">
            <a:avLst/>
          </a:prstGeom>
          <a:solidFill>
            <a:srgbClr val="F2DE8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000000"/>
                </a:solidFill>
              </a:rPr>
              <a:t>1+ non-Peer 2(x) products from Peer 2 family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67CE130-7B24-1960-5E7B-7ED8233E575B}"/>
              </a:ext>
            </a:extLst>
          </p:cNvPr>
          <p:cNvSpPr/>
          <p:nvPr/>
        </p:nvSpPr>
        <p:spPr bwMode="gray">
          <a:xfrm>
            <a:off x="7629881" y="1591318"/>
            <a:ext cx="1213885" cy="334973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FFFFFF"/>
                </a:solidFill>
              </a:rPr>
              <a:t>Prioritizes 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ease of u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BCB0FB7-B585-EAB7-421B-D7E2EE3087E8}"/>
              </a:ext>
            </a:extLst>
          </p:cNvPr>
          <p:cNvSpPr/>
          <p:nvPr/>
        </p:nvSpPr>
        <p:spPr bwMode="gray">
          <a:xfrm>
            <a:off x="10647917" y="1591317"/>
            <a:ext cx="1213885" cy="334973"/>
          </a:xfrm>
          <a:prstGeom prst="rect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rgbClr val="000000"/>
                </a:solidFill>
              </a:rPr>
              <a:t>Doesn’t prioritize ease of us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5A85938-ABCA-39C0-A665-493B8A104CDA}"/>
              </a:ext>
            </a:extLst>
          </p:cNvPr>
          <p:cNvSpPr/>
          <p:nvPr/>
        </p:nvSpPr>
        <p:spPr bwMode="gray">
          <a:xfrm>
            <a:off x="9384308" y="1591318"/>
            <a:ext cx="1213884" cy="334973"/>
          </a:xfrm>
          <a:prstGeom prst="rect">
            <a:avLst/>
          </a:prstGeom>
          <a:solidFill>
            <a:srgbClr val="F2DE8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700" b="1" dirty="0">
                <a:solidFill>
                  <a:srgbClr val="000000"/>
                </a:solidFill>
              </a:rPr>
              <a:t>1+ non-Peer 2(x) products from Peer 2 famil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5658DF9-7FC7-BE82-8B0E-89BD839BAED2}"/>
              </a:ext>
            </a:extLst>
          </p:cNvPr>
          <p:cNvSpPr/>
          <p:nvPr/>
        </p:nvSpPr>
        <p:spPr bwMode="gray">
          <a:xfrm>
            <a:off x="330200" y="1308149"/>
            <a:ext cx="2475110" cy="228791"/>
          </a:xfrm>
          <a:prstGeom prst="rect">
            <a:avLst/>
          </a:prstGeom>
          <a:solidFill>
            <a:srgbClr val="507867"/>
          </a:solidFill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Strong Target right to wi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71913E7-3986-5CDA-BD50-B6502B610049}"/>
              </a:ext>
            </a:extLst>
          </p:cNvPr>
          <p:cNvSpPr/>
          <p:nvPr/>
        </p:nvSpPr>
        <p:spPr bwMode="gray">
          <a:xfrm>
            <a:off x="3348236" y="1308148"/>
            <a:ext cx="5495528" cy="228791"/>
          </a:xfrm>
          <a:prstGeom prst="rect">
            <a:avLst/>
          </a:prstGeom>
          <a:solidFill>
            <a:srgbClr val="BBCABA"/>
          </a:solidFill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00000"/>
                </a:solidFill>
              </a:rPr>
              <a:t>Moderate Target right to win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7B4391A-BC51-2C35-4B8C-B0D706C821F6}"/>
              </a:ext>
            </a:extLst>
          </p:cNvPr>
          <p:cNvSpPr/>
          <p:nvPr/>
        </p:nvSpPr>
        <p:spPr bwMode="gray">
          <a:xfrm>
            <a:off x="9381926" y="1308147"/>
            <a:ext cx="2479873" cy="228791"/>
          </a:xfrm>
          <a:prstGeom prst="rect">
            <a:avLst/>
          </a:prstGeom>
          <a:solidFill>
            <a:srgbClr val="D6D6D6"/>
          </a:solidFill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000000"/>
                </a:solidFill>
              </a:rPr>
              <a:t>Target disadvantag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4EEF32-6939-4497-3409-26A73B434EA4}"/>
              </a:ext>
            </a:extLst>
          </p:cNvPr>
          <p:cNvSpPr/>
          <p:nvPr/>
        </p:nvSpPr>
        <p:spPr bwMode="gray">
          <a:xfrm>
            <a:off x="357637" y="226879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6F237F2-C234-64C8-EF22-C43B91E2EA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693680"/>
              </p:ext>
            </p:extLst>
          </p:nvPr>
        </p:nvGraphicFramePr>
        <p:xfrm>
          <a:off x="3345853" y="1963282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1553079918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305666755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482967627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33886263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216768266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514017492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987802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0094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35409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8376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23301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49915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97769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85461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195278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B690D553-49E9-A094-CE8C-BF92F058A9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701058"/>
              </p:ext>
            </p:extLst>
          </p:nvPr>
        </p:nvGraphicFramePr>
        <p:xfrm>
          <a:off x="3345853" y="4155814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259939607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689261939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126178419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376919005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033054817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983870212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selected of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74751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8414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48751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744149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56836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94326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88399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46863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914061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2685751B-D15B-1033-6D24-6D58D6753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9649177"/>
              </p:ext>
            </p:extLst>
          </p:nvPr>
        </p:nvGraphicFramePr>
        <p:xfrm>
          <a:off x="6356598" y="1963282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4051139477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532405603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075012666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0792436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87443175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886432898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204189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622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08169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87486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898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3684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30325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857793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805833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3000F4E1-006A-28FB-DD05-D69A8CE0FA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041872"/>
              </p:ext>
            </p:extLst>
          </p:nvPr>
        </p:nvGraphicFramePr>
        <p:xfrm>
          <a:off x="6356598" y="4155814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4170423760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373622764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956656409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553539551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4053607577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077470926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selected of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23451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75108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64749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4787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89950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3657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47383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1819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338687"/>
                  </a:ext>
                </a:extLst>
              </a:tr>
            </a:tbl>
          </a:graphicData>
        </a:graphic>
      </p:graphicFrame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A12066AF-A078-A0E0-82A2-BB2F2A9738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124486"/>
              </p:ext>
            </p:extLst>
          </p:nvPr>
        </p:nvGraphicFramePr>
        <p:xfrm>
          <a:off x="9377795" y="1963282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182645108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4193808518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171781966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216924888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745266331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63234329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69763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1983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70887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19257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96775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05954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097771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4134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7226793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27E747B9-2F98-FD18-43F5-0EF76003B6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78639"/>
              </p:ext>
            </p:extLst>
          </p:nvPr>
        </p:nvGraphicFramePr>
        <p:xfrm>
          <a:off x="9377795" y="4155814"/>
          <a:ext cx="2487168" cy="2103120"/>
        </p:xfrm>
        <a:graphic>
          <a:graphicData uri="http://schemas.openxmlformats.org/drawingml/2006/table">
            <a:tbl>
              <a:tblPr/>
              <a:tblGrid>
                <a:gridCol w="795528">
                  <a:extLst>
                    <a:ext uri="{9D8B030D-6E8A-4147-A177-3AD203B41FA5}">
                      <a16:colId xmlns:a16="http://schemas.microsoft.com/office/drawing/2014/main" val="3787951258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26546240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3110178387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340757362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865424809"/>
                    </a:ext>
                  </a:extLst>
                </a:gridCol>
                <a:gridCol w="338328">
                  <a:extLst>
                    <a:ext uri="{9D8B030D-6E8A-4147-A177-3AD203B41FA5}">
                      <a16:colId xmlns:a16="http://schemas.microsoft.com/office/drawing/2014/main" val="197318106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% selected of consider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cr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B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M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98113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l" rtl="0" fontAlgn="ctr">
                        <a:buFontTx/>
                        <a:buNone/>
                      </a:pPr>
                      <a:endParaRPr lang="en-US" sz="5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1756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er 1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36967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2(x)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5A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D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840046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42404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46650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77952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76462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indent="0" algn="ctr" rtl="0" fontAlgn="ctr">
                        <a:buFontTx/>
                        <a:buNone/>
                      </a:pP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er 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2C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5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683209"/>
                  </a:ext>
                </a:extLst>
              </a:tr>
            </a:tbl>
          </a:graphicData>
        </a:graphic>
      </p:graphicFrame>
      <p:sp>
        <p:nvSpPr>
          <p:cNvPr id="97" name="Rectangle 96">
            <a:extLst>
              <a:ext uri="{FF2B5EF4-FFF2-40B4-BE49-F238E27FC236}">
                <a16:creationId xmlns:a16="http://schemas.microsoft.com/office/drawing/2014/main" id="{646BE694-E025-545D-1B21-40E29306EA97}"/>
              </a:ext>
            </a:extLst>
          </p:cNvPr>
          <p:cNvSpPr/>
          <p:nvPr/>
        </p:nvSpPr>
        <p:spPr bwMode="gray">
          <a:xfrm>
            <a:off x="357637" y="445834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EE64B08-AE6C-B640-3E0A-3CB5EEDA3B8D}"/>
              </a:ext>
            </a:extLst>
          </p:cNvPr>
          <p:cNvSpPr/>
          <p:nvPr/>
        </p:nvSpPr>
        <p:spPr bwMode="gray">
          <a:xfrm>
            <a:off x="3367477" y="226879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D029476-4959-A146-0C53-392C26497E27}"/>
              </a:ext>
            </a:extLst>
          </p:cNvPr>
          <p:cNvSpPr/>
          <p:nvPr/>
        </p:nvSpPr>
        <p:spPr bwMode="gray">
          <a:xfrm>
            <a:off x="3367477" y="445834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063BA8A4-8482-F3CF-3F2E-B1BFBD366C3B}"/>
              </a:ext>
            </a:extLst>
          </p:cNvPr>
          <p:cNvSpPr/>
          <p:nvPr/>
        </p:nvSpPr>
        <p:spPr bwMode="gray">
          <a:xfrm>
            <a:off x="6385821" y="226879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5F1D83A-F871-35B7-7654-1AE6604F9860}"/>
              </a:ext>
            </a:extLst>
          </p:cNvPr>
          <p:cNvSpPr/>
          <p:nvPr/>
        </p:nvSpPr>
        <p:spPr bwMode="gray">
          <a:xfrm>
            <a:off x="6385821" y="445834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4FDA9C3A-1BE3-7CC7-70C3-35D6E3DCF326}"/>
              </a:ext>
            </a:extLst>
          </p:cNvPr>
          <p:cNvSpPr/>
          <p:nvPr/>
        </p:nvSpPr>
        <p:spPr bwMode="gray">
          <a:xfrm>
            <a:off x="9400300" y="226879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5F49EFC-9CF7-F44D-7F34-E2F960C71840}"/>
              </a:ext>
            </a:extLst>
          </p:cNvPr>
          <p:cNvSpPr/>
          <p:nvPr/>
        </p:nvSpPr>
        <p:spPr bwMode="gray">
          <a:xfrm>
            <a:off x="9400300" y="4458346"/>
            <a:ext cx="587406" cy="163134"/>
          </a:xfrm>
          <a:prstGeom prst="rect">
            <a:avLst/>
          </a:prstGeom>
          <a:solidFill>
            <a:srgbClr val="CC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 dirty="0">
                <a:solidFill>
                  <a:srgbClr val="FFFFFF"/>
                </a:solidFill>
              </a:rPr>
              <a:t>Target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868E6D7B-3FBA-F888-6AED-3B381F493DB1}"/>
              </a:ext>
            </a:extLst>
          </p:cNvPr>
          <p:cNvSpPr/>
          <p:nvPr/>
        </p:nvSpPr>
        <p:spPr bwMode="gray">
          <a:xfrm>
            <a:off x="9024635" y="982658"/>
            <a:ext cx="137160" cy="137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%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32678796-2C3A-5C77-8445-22D1DA988BCD}"/>
              </a:ext>
            </a:extLst>
          </p:cNvPr>
          <p:cNvSpPr/>
          <p:nvPr/>
        </p:nvSpPr>
        <p:spPr bwMode="gray">
          <a:xfrm>
            <a:off x="9461822" y="982658"/>
            <a:ext cx="137160" cy="1371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0-20%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3214DD2B-4013-CAC8-58E6-566D2FC42261}"/>
              </a:ext>
            </a:extLst>
          </p:cNvPr>
          <p:cNvSpPr/>
          <p:nvPr/>
        </p:nvSpPr>
        <p:spPr bwMode="gray">
          <a:xfrm>
            <a:off x="10061876" y="982658"/>
            <a:ext cx="137160" cy="1371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20-40%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7BC6DE16-8203-A5E2-4246-969FA1FA333C}"/>
              </a:ext>
            </a:extLst>
          </p:cNvPr>
          <p:cNvSpPr/>
          <p:nvPr/>
        </p:nvSpPr>
        <p:spPr bwMode="gray">
          <a:xfrm>
            <a:off x="10724459" y="982658"/>
            <a:ext cx="137160" cy="1371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40-60%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E7AE0C8B-4333-FDEE-37D4-D4145E7CE225}"/>
              </a:ext>
            </a:extLst>
          </p:cNvPr>
          <p:cNvSpPr/>
          <p:nvPr/>
        </p:nvSpPr>
        <p:spPr bwMode="gray">
          <a:xfrm>
            <a:off x="11393093" y="982658"/>
            <a:ext cx="137160" cy="13716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01168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60%+</a:t>
            </a:r>
          </a:p>
        </p:txBody>
      </p:sp>
      <p:sp>
        <p:nvSpPr>
          <p:cNvPr id="163" name="btfpNotesBox251781">
            <a:extLst>
              <a:ext uri="{FF2B5EF4-FFF2-40B4-BE49-F238E27FC236}">
                <a16:creationId xmlns:a16="http://schemas.microsoft.com/office/drawing/2014/main" id="{6A79A74B-B1BC-3848-04B3-948A99BF6FC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FA520F-F339-5E08-C723-071E7EEC3B17}"/>
              </a:ext>
            </a:extLst>
          </p:cNvPr>
          <p:cNvSpPr/>
          <p:nvPr/>
        </p:nvSpPr>
        <p:spPr bwMode="gray">
          <a:xfrm>
            <a:off x="1467750" y="4438256"/>
            <a:ext cx="1005840" cy="452106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" name="btfpCallout348099">
            <a:extLst>
              <a:ext uri="{FF2B5EF4-FFF2-40B4-BE49-F238E27FC236}">
                <a16:creationId xmlns:a16="http://schemas.microsoft.com/office/drawing/2014/main" id="{05ED6181-23B5-4EC3-EB55-BBEBAD563A31}"/>
              </a:ext>
            </a:extLst>
          </p:cNvPr>
          <p:cNvSpPr/>
          <p:nvPr/>
        </p:nvSpPr>
        <p:spPr bwMode="gray">
          <a:xfrm>
            <a:off x="2641426" y="6312971"/>
            <a:ext cx="2053038" cy="451413"/>
          </a:xfrm>
          <a:prstGeom prst="wedgeRectCallout">
            <a:avLst>
              <a:gd name="adj1" fmla="val -57027"/>
              <a:gd name="adj2" fmla="val -346880"/>
            </a:avLst>
          </a:prstGeom>
          <a:solidFill>
            <a:srgbClr val="FFFFFF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000000"/>
                </a:solidFill>
              </a:rPr>
              <a:t>Target is often selected in sweet spot when it has strong right to win; Peer 1 is selected slightly less ofte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96682A-FFFA-8EBB-ECE4-4A8869ECF481}"/>
              </a:ext>
            </a:extLst>
          </p:cNvPr>
          <p:cNvSpPr/>
          <p:nvPr/>
        </p:nvSpPr>
        <p:spPr bwMode="gray">
          <a:xfrm>
            <a:off x="7163819" y="2697118"/>
            <a:ext cx="1670419" cy="223948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C46E18-8A22-78F0-8442-23BEB977CA58}"/>
              </a:ext>
            </a:extLst>
          </p:cNvPr>
          <p:cNvSpPr/>
          <p:nvPr/>
        </p:nvSpPr>
        <p:spPr bwMode="gray">
          <a:xfrm>
            <a:off x="7163818" y="4890362"/>
            <a:ext cx="1670419" cy="223948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64" name="btfpCallout348099">
            <a:extLst>
              <a:ext uri="{FF2B5EF4-FFF2-40B4-BE49-F238E27FC236}">
                <a16:creationId xmlns:a16="http://schemas.microsoft.com/office/drawing/2014/main" id="{5CA15572-50FE-E2ED-D5BC-BF442DA7698C}"/>
              </a:ext>
            </a:extLst>
          </p:cNvPr>
          <p:cNvSpPr/>
          <p:nvPr/>
        </p:nvSpPr>
        <p:spPr bwMode="gray">
          <a:xfrm>
            <a:off x="5222654" y="6312971"/>
            <a:ext cx="2704867" cy="451413"/>
          </a:xfrm>
          <a:prstGeom prst="wedgeRectCallout">
            <a:avLst>
              <a:gd name="adj1" fmla="val 30853"/>
              <a:gd name="adj2" fmla="val -93675"/>
            </a:avLst>
          </a:prstGeom>
          <a:solidFill>
            <a:srgbClr val="FFFFFF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000000"/>
                </a:solidFill>
              </a:rPr>
              <a:t>Peer 2(x) is highly considered and selected when companies use other Peer 2 family products; Peer 1 still selected more among enterprise</a:t>
            </a:r>
          </a:p>
        </p:txBody>
      </p:sp>
      <p:sp>
        <p:nvSpPr>
          <p:cNvPr id="65" name="btfpCallout348099">
            <a:extLst>
              <a:ext uri="{FF2B5EF4-FFF2-40B4-BE49-F238E27FC236}">
                <a16:creationId xmlns:a16="http://schemas.microsoft.com/office/drawing/2014/main" id="{464AB52A-2DF4-8E04-F6D0-EB5AFEA2B683}"/>
              </a:ext>
            </a:extLst>
          </p:cNvPr>
          <p:cNvSpPr/>
          <p:nvPr/>
        </p:nvSpPr>
        <p:spPr bwMode="gray">
          <a:xfrm>
            <a:off x="8837984" y="6376389"/>
            <a:ext cx="2818306" cy="334974"/>
          </a:xfrm>
          <a:prstGeom prst="wedgeRectCallout">
            <a:avLst>
              <a:gd name="adj1" fmla="val -5146"/>
              <a:gd name="adj2" fmla="val -110737"/>
            </a:avLst>
          </a:prstGeom>
          <a:solidFill>
            <a:srgbClr val="FFFFFF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000000"/>
                </a:solidFill>
              </a:rPr>
              <a:t>Target is not frequently considered or selected when disadvantaged, even in sweet spot segment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FDBD45D-BFB1-5F9A-DA44-228A3D970AB8}"/>
              </a:ext>
            </a:extLst>
          </p:cNvPr>
          <p:cNvSpPr/>
          <p:nvPr/>
        </p:nvSpPr>
        <p:spPr bwMode="gray">
          <a:xfrm>
            <a:off x="10181944" y="2239429"/>
            <a:ext cx="1670419" cy="223948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CD01792-8A7D-26CA-6AD4-0978161E134D}"/>
              </a:ext>
            </a:extLst>
          </p:cNvPr>
          <p:cNvSpPr/>
          <p:nvPr/>
        </p:nvSpPr>
        <p:spPr bwMode="gray">
          <a:xfrm>
            <a:off x="10181943" y="4432673"/>
            <a:ext cx="1670419" cy="223948"/>
          </a:xfrm>
          <a:prstGeom prst="rect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1" name="btfpRunningAgenda2Level301519">
            <a:extLst>
              <a:ext uri="{FF2B5EF4-FFF2-40B4-BE49-F238E27FC236}">
                <a16:creationId xmlns:a16="http://schemas.microsoft.com/office/drawing/2014/main" id="{3168F7BC-8551-1D0B-A14E-DA38A6A52D2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5064"/>
            <a:ext cx="6455992" cy="257442"/>
            <a:chOff x="0" y="876300"/>
            <a:chExt cx="6455992" cy="257442"/>
          </a:xfrm>
        </p:grpSpPr>
        <p:sp>
          <p:nvSpPr>
            <p:cNvPr id="12" name="btfpRunningAgenda2LevelBarLeft301519">
              <a:extLst>
                <a:ext uri="{FF2B5EF4-FFF2-40B4-BE49-F238E27FC236}">
                  <a16:creationId xmlns:a16="http://schemas.microsoft.com/office/drawing/2014/main" id="{70EBA60F-2C12-3F8E-4553-4E5B723FE0C0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5" name="btfpRunningAgenda2LevelTextLeft301519">
              <a:extLst>
                <a:ext uri="{FF2B5EF4-FFF2-40B4-BE49-F238E27FC236}">
                  <a16:creationId xmlns:a16="http://schemas.microsoft.com/office/drawing/2014/main" id="{F417D71F-40F8-E6DF-17B9-432BDD749FA4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17" name="btfpRunningAgenda2LevelBarRight301519">
              <a:extLst>
                <a:ext uri="{FF2B5EF4-FFF2-40B4-BE49-F238E27FC236}">
                  <a16:creationId xmlns:a16="http://schemas.microsoft.com/office/drawing/2014/main" id="{5982B2A7-C45B-58A0-9B49-198A11573039}"/>
                </a:ext>
              </a:extLst>
            </p:cNvPr>
            <p:cNvSpPr/>
            <p:nvPr/>
          </p:nvSpPr>
          <p:spPr bwMode="gray">
            <a:xfrm>
              <a:off x="3903341" y="876300"/>
              <a:ext cx="2552651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50802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01006 w 1701006"/>
                <a:gd name="connsiteY0" fmla="*/ 0 h 257442"/>
                <a:gd name="connsiteX1" fmla="*/ 1393011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6 w 1701006"/>
                <a:gd name="connsiteY0" fmla="*/ 0 h 257442"/>
                <a:gd name="connsiteX1" fmla="*/ 1646285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1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2 w 1701007"/>
                <a:gd name="connsiteY3" fmla="*/ 0 h 257442"/>
                <a:gd name="connsiteX0" fmla="*/ 1876184 w 1876184"/>
                <a:gd name="connsiteY0" fmla="*/ 0 h 257442"/>
                <a:gd name="connsiteX1" fmla="*/ 1646286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1 w 1876184"/>
                <a:gd name="connsiteY3" fmla="*/ 0 h 257442"/>
                <a:gd name="connsiteX0" fmla="*/ 2145487 w 2145487"/>
                <a:gd name="connsiteY0" fmla="*/ 0 h 257442"/>
                <a:gd name="connsiteX1" fmla="*/ 1821462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305787 w 2305787"/>
                <a:gd name="connsiteY0" fmla="*/ 0 h 257442"/>
                <a:gd name="connsiteX1" fmla="*/ 20907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474102 w 2474102"/>
                <a:gd name="connsiteY0" fmla="*/ 0 h 257442"/>
                <a:gd name="connsiteX1" fmla="*/ 2251066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2 w 2474102"/>
                <a:gd name="connsiteY0" fmla="*/ 0 h 257442"/>
                <a:gd name="connsiteX1" fmla="*/ 2419380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642419 w 2642419"/>
                <a:gd name="connsiteY0" fmla="*/ 0 h 257442"/>
                <a:gd name="connsiteX1" fmla="*/ 2419381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8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0 w 2642418"/>
                <a:gd name="connsiteY3" fmla="*/ 0 h 257442"/>
                <a:gd name="connsiteX0" fmla="*/ 2474101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0 w 2587697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1 w 2474101"/>
                <a:gd name="connsiteY3" fmla="*/ 0 h 257442"/>
                <a:gd name="connsiteX0" fmla="*/ 2642418 w 2642418"/>
                <a:gd name="connsiteY0" fmla="*/ 0 h 257442"/>
                <a:gd name="connsiteX1" fmla="*/ 2419381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6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541429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2 w 2587697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54722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1 w 2541428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0 w 2541428"/>
                <a:gd name="connsiteY3" fmla="*/ 0 h 257442"/>
                <a:gd name="connsiteX0" fmla="*/ 942785 w 2486707"/>
                <a:gd name="connsiteY0" fmla="*/ 0 h 257442"/>
                <a:gd name="connsiteX1" fmla="*/ 2486707 w 2486707"/>
                <a:gd name="connsiteY1" fmla="*/ 257442 h 257442"/>
                <a:gd name="connsiteX2" fmla="*/ 0 w 2486707"/>
                <a:gd name="connsiteY2" fmla="*/ 257442 h 257442"/>
                <a:gd name="connsiteX3" fmla="*/ 54720 w 2486707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5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950801 w 1665522"/>
                <a:gd name="connsiteY0" fmla="*/ 0 h 257442"/>
                <a:gd name="connsiteX1" fmla="*/ 1665522 w 1665522"/>
                <a:gd name="connsiteY1" fmla="*/ 257442 h 257442"/>
                <a:gd name="connsiteX2" fmla="*/ 0 w 1665522"/>
                <a:gd name="connsiteY2" fmla="*/ 257442 h 257442"/>
                <a:gd name="connsiteX3" fmla="*/ 54721 w 166552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398038 w 1398038"/>
                <a:gd name="connsiteY0" fmla="*/ 0 h 257442"/>
                <a:gd name="connsiteX1" fmla="*/ 1175003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651313 w 1651313"/>
                <a:gd name="connsiteY0" fmla="*/ 0 h 257442"/>
                <a:gd name="connsiteX1" fmla="*/ 1343317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978775 w 1978775"/>
                <a:gd name="connsiteY0" fmla="*/ 0 h 257442"/>
                <a:gd name="connsiteX1" fmla="*/ 1596592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2283345 w 2283345"/>
                <a:gd name="connsiteY0" fmla="*/ 0 h 257442"/>
                <a:gd name="connsiteX1" fmla="*/ 192405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552650 w 2552650"/>
                <a:gd name="connsiteY0" fmla="*/ 0 h 257442"/>
                <a:gd name="connsiteX1" fmla="*/ 2228624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0 w 2552650"/>
                <a:gd name="connsiteY0" fmla="*/ 0 h 257442"/>
                <a:gd name="connsiteX1" fmla="*/ 2497928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2651" h="257442">
                  <a:moveTo>
                    <a:pt x="2552651" y="0"/>
                  </a:moveTo>
                  <a:lnTo>
                    <a:pt x="2497929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Right301519">
              <a:extLst>
                <a:ext uri="{FF2B5EF4-FFF2-40B4-BE49-F238E27FC236}">
                  <a16:creationId xmlns:a16="http://schemas.microsoft.com/office/drawing/2014/main" id="{1193908F-1C72-9E70-297D-E5910B6616E3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2497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Right to win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B000FEC6-B5C3-F854-7186-A65E74B679F8}"/>
              </a:ext>
            </a:extLst>
          </p:cNvPr>
          <p:cNvSpPr/>
          <p:nvPr/>
        </p:nvSpPr>
        <p:spPr bwMode="gray">
          <a:xfrm>
            <a:off x="6523436" y="913114"/>
            <a:ext cx="2334162" cy="334422"/>
          </a:xfrm>
          <a:prstGeom prst="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>
                <a:solidFill>
                  <a:srgbClr val="000000"/>
                </a:solidFill>
                <a:cs typeface="Arial"/>
              </a:rPr>
              <a:t>Note: Simpler version (removing ease of use prioritization) in appendi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7560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hink-cell data - do not delete" hidden="1">
            <a:extLst>
              <a:ext uri="{FF2B5EF4-FFF2-40B4-BE49-F238E27FC236}">
                <a16:creationId xmlns:a16="http://schemas.microsoft.com/office/drawing/2014/main" id="{A7E0EB08-4D25-B435-9F9E-CA2BEEEB3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205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606" imgH="608" progId="TCLayout.ActiveDocument.1">
                  <p:embed/>
                </p:oleObj>
              </mc:Choice>
              <mc:Fallback>
                <p:oleObj name="think-cell Slide" r:id="rId13" imgW="606" imgH="608" progId="TCLayout.ActiveDocument.1">
                  <p:embed/>
                  <p:pic>
                    <p:nvPicPr>
                      <p:cNvPr id="3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E0EB08-4D25-B435-9F9E-CA2BEEEB3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btfpColumnIndicatorGroup2">
            <a:extLst>
              <a:ext uri="{FF2B5EF4-FFF2-40B4-BE49-F238E27FC236}">
                <a16:creationId xmlns:a16="http://schemas.microsoft.com/office/drawing/2014/main" id="{CF895378-0580-6DBF-4E2F-0493E470C25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1" name="btfpColumnGapBlocker640621">
              <a:extLst>
                <a:ext uri="{FF2B5EF4-FFF2-40B4-BE49-F238E27FC236}">
                  <a16:creationId xmlns:a16="http://schemas.microsoft.com/office/drawing/2014/main" id="{8FE1BA09-D8C2-9145-C8CF-B467386CE57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ColumnGapBlocker446257">
              <a:extLst>
                <a:ext uri="{FF2B5EF4-FFF2-40B4-BE49-F238E27FC236}">
                  <a16:creationId xmlns:a16="http://schemas.microsoft.com/office/drawing/2014/main" id="{01015B46-F3C4-C579-D629-8153C5D55357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827835">
              <a:extLst>
                <a:ext uri="{FF2B5EF4-FFF2-40B4-BE49-F238E27FC236}">
                  <a16:creationId xmlns:a16="http://schemas.microsoft.com/office/drawing/2014/main" id="{E5FD0C87-5B16-75F6-5F36-07B2028FE7B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331392">
              <a:extLst>
                <a:ext uri="{FF2B5EF4-FFF2-40B4-BE49-F238E27FC236}">
                  <a16:creationId xmlns:a16="http://schemas.microsoft.com/office/drawing/2014/main" id="{9870E58C-7CD6-2B12-04F3-94310745F215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964208">
              <a:extLst>
                <a:ext uri="{FF2B5EF4-FFF2-40B4-BE49-F238E27FC236}">
                  <a16:creationId xmlns:a16="http://schemas.microsoft.com/office/drawing/2014/main" id="{5190897F-47D5-D47C-84F5-84FF0CA4BD0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116325">
              <a:extLst>
                <a:ext uri="{FF2B5EF4-FFF2-40B4-BE49-F238E27FC236}">
                  <a16:creationId xmlns:a16="http://schemas.microsoft.com/office/drawing/2014/main" id="{09F0D0E8-0D57-40D4-5951-3DB9A0523F2A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45561">
              <a:extLst>
                <a:ext uri="{FF2B5EF4-FFF2-40B4-BE49-F238E27FC236}">
                  <a16:creationId xmlns:a16="http://schemas.microsoft.com/office/drawing/2014/main" id="{475138FA-D379-9BD2-E3E8-BB817F697348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143496">
              <a:extLst>
                <a:ext uri="{FF2B5EF4-FFF2-40B4-BE49-F238E27FC236}">
                  <a16:creationId xmlns:a16="http://schemas.microsoft.com/office/drawing/2014/main" id="{15581C82-F07D-B17C-E239-D66887E4C8F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669586">
              <a:extLst>
                <a:ext uri="{FF2B5EF4-FFF2-40B4-BE49-F238E27FC236}">
                  <a16:creationId xmlns:a16="http://schemas.microsoft.com/office/drawing/2014/main" id="{C41F58BB-7EA7-D576-712B-DE5A9B8DC755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748609">
              <a:extLst>
                <a:ext uri="{FF2B5EF4-FFF2-40B4-BE49-F238E27FC236}">
                  <a16:creationId xmlns:a16="http://schemas.microsoft.com/office/drawing/2014/main" id="{DA9C0529-F76E-19D2-CF5A-8E0C0B4C46E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btfpColumnIndicatorGroup1">
            <a:extLst>
              <a:ext uri="{FF2B5EF4-FFF2-40B4-BE49-F238E27FC236}">
                <a16:creationId xmlns:a16="http://schemas.microsoft.com/office/drawing/2014/main" id="{6DF99DD0-C6C5-8A7D-D8ED-8D6097FF437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892516">
              <a:extLst>
                <a:ext uri="{FF2B5EF4-FFF2-40B4-BE49-F238E27FC236}">
                  <a16:creationId xmlns:a16="http://schemas.microsoft.com/office/drawing/2014/main" id="{87D8070A-5C0E-DEB3-7193-E75FD6D5CEC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976775">
              <a:extLst>
                <a:ext uri="{FF2B5EF4-FFF2-40B4-BE49-F238E27FC236}">
                  <a16:creationId xmlns:a16="http://schemas.microsoft.com/office/drawing/2014/main" id="{840C12C0-1A16-61A5-E49F-439CC3F5357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167920">
              <a:extLst>
                <a:ext uri="{FF2B5EF4-FFF2-40B4-BE49-F238E27FC236}">
                  <a16:creationId xmlns:a16="http://schemas.microsoft.com/office/drawing/2014/main" id="{B1664E90-8280-70E0-AAF7-5623355D327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399178">
              <a:extLst>
                <a:ext uri="{FF2B5EF4-FFF2-40B4-BE49-F238E27FC236}">
                  <a16:creationId xmlns:a16="http://schemas.microsoft.com/office/drawing/2014/main" id="{8F2F1C7E-555A-521F-A239-FE9AD97D7B4B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994251">
              <a:extLst>
                <a:ext uri="{FF2B5EF4-FFF2-40B4-BE49-F238E27FC236}">
                  <a16:creationId xmlns:a16="http://schemas.microsoft.com/office/drawing/2014/main" id="{4C496F00-D215-B840-0BBC-BC79A7D2766D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394222">
              <a:extLst>
                <a:ext uri="{FF2B5EF4-FFF2-40B4-BE49-F238E27FC236}">
                  <a16:creationId xmlns:a16="http://schemas.microsoft.com/office/drawing/2014/main" id="{E2F70BB3-201A-F7F4-41AD-7B15E5D1E36A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171597">
              <a:extLst>
                <a:ext uri="{FF2B5EF4-FFF2-40B4-BE49-F238E27FC236}">
                  <a16:creationId xmlns:a16="http://schemas.microsoft.com/office/drawing/2014/main" id="{9FD7F127-7491-BC1F-F309-BFEBF2739FE3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626638">
              <a:extLst>
                <a:ext uri="{FF2B5EF4-FFF2-40B4-BE49-F238E27FC236}">
                  <a16:creationId xmlns:a16="http://schemas.microsoft.com/office/drawing/2014/main" id="{0952F9BB-9207-0CDD-DAE5-BDD69D2390BA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35444">
              <a:extLst>
                <a:ext uri="{FF2B5EF4-FFF2-40B4-BE49-F238E27FC236}">
                  <a16:creationId xmlns:a16="http://schemas.microsoft.com/office/drawing/2014/main" id="{200035A3-F058-C989-4C17-91F13994E82F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146045">
              <a:extLst>
                <a:ext uri="{FF2B5EF4-FFF2-40B4-BE49-F238E27FC236}">
                  <a16:creationId xmlns:a16="http://schemas.microsoft.com/office/drawing/2014/main" id="{6F39493E-C776-7220-BBA5-A3D50BBC863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156682B-D122-66D1-3DAB-8DD99DA6B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b="1" dirty="0"/>
              <a:t>Target right to win </a:t>
            </a:r>
            <a:r>
              <a:rPr lang="en-US" sz="2000" dirty="0"/>
              <a:t>| Combining preferences for ease of use and where Peer 2 family product </a:t>
            </a:r>
            <a:br>
              <a:rPr lang="en-US" sz="2000" dirty="0"/>
            </a:br>
            <a:r>
              <a:rPr lang="en-US" sz="2000" dirty="0"/>
              <a:t>isn’t present suggests pocket where Target has a stronger right to win</a:t>
            </a:r>
          </a:p>
        </p:txBody>
      </p:sp>
      <p:sp>
        <p:nvSpPr>
          <p:cNvPr id="19" name="Rectangle 1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QMC/s0JocMDf9I4t4/9JMLuaU/ZiVNePvYz5wycPDb5F6msC//D83d52XgoFPneawlH9AY0Yj3DXSrnoJFGBWDtoyHiyyIh1FLglDK3tpbl4kiTYb1SG1sAwPdotmm8+qCSE7HYZxvy6C8vWRc5iRoU3v00rhdUPt0nUbRt8YOApjBjiO99ANBf1AfKYI9lmu/X4tUtTvtP3hDhG0tJKXRzLU5dErHhFEfSuQKIAHtu2ms/8n2jorON2FXC7BJHNn26rCpOHZAtVHBRqTqdbfLsMKhTmDN9zoRUDMEOYZMDUj4YBgozEhOC/YQtcVLUQWIrq+G2s09JnZVWJcrRUMEypp4wum2c3t7meUA6425z6XIImDfVqN5TDkWQmGR5VNvkTtKzmidkKVojc7VU8uOF0Uys8jD1M3GhgWD8t6wpveKysxeY8SQt0ohcmd3UAMaqbPL0J+5ODFk/3dfckWO25+HR5N6TaZAHAW4nVk5bNXwr9oDlJBXjOFTAub1VZ/01B1/mO2BWooG0Leo6t3bUuBM4M+45G9XkunRGh7FNT5YyoXFvEyLsb4kNlavdue1Dk6QaF167unFBAMBeI0xWJOAJwuB/GwFD9TjdiZB6LXIjYGQdnrFL0hWpk396sb9rrBS4tBniJ1tRTv29N/abW7vJ1UfeNz/3XiyHLJBzoWfLEgUdWgsyK0Ni2IybrBRHUc1X9Xg0xJHwMkidCRdBEgfbgnOjlUIehJBHAdbYpGaHheeI23TSR+LR5e6E6JbeGwwi6KMRDQVYPN5DkoXZ0w/YPi5Ve0jzRbQRAbxCk13e46HhdfloBosWz2SOTWE3C3DLERB+ccv5A+S6FszsUWd17vGyXv0nYGM3JJAPZcwD7NArHuKFCLdqMSEUGM8ZPmXE4gZJ0HjGZsUgPJYthQf6EAXLw5tD8wzGA4V7p08Mr/WG6zz24QO3fa3rhF7ycgF9X0YjvvYr4aSpMih3WPb9p/QeUAIfp8dm/9Ort/arpJ4lG6pgKtP7gbuX0JETnVAq6Juu4A8+18dVFStvAVzepcMt/fN+5ELhZLkbMH0zAnSG6ZdqlY75Sma88vRSpqslfnl8imey63aJ9X98fUa+JVj38Wfv7aK10FJAvL+RdqKmFSZPZQ4ob24kVdHmR5NUP+f2f0mhIfAZCRGb92FoiWx7EVrGTFOQJ1H0mFKOKeB8ozdG7rOpcDwKC91/oaQWRAdvHX+GqhtPG/5dRp0Zv6gidsb3mYZWu2Iwlrjwk+clhC/9aVrILNw4xlY9hSzvNiMj0jArFCK1BSNYGKAI7/I4C53H+09NLxOT3EloKXAbu4iAMQNP2vhW/A2m2GrkmOIYXLDTgIFAkELkXh32TD0WJNuJtVPQoZOMy9CE4wYrcgiKTQ245zp4v2t+5Ko3n9oyEyOAHUPtYDoMbmYZfGmpwZ/L85IXYECPaO0kZmgF14J9SL1ioWgkrK6KJu9wUL+Mr9TCKgQWCQVo28FtXT//ik9XFy8NYotzfYrmJMtZhTj848ILeJTZq+kugkGQ3B8v2/l7JCGiuECJ+P1xTVGg952QNW6feBefXMLe1NeP/ss8YCTYAwIQ4lxHFzxqGON5V8isYU2UfhzqkA3DXGgtpFBQmvL62fXAfTqco2WMZf16Yb7Lvh4SzTIy7Ex9AX/GzSvSeIJmeb1Ww2Q4grSahwckKXnX5M1wT1gryaoJqlqcWIjyIKa+bS+dA+eV/3iRw5YpOrK+OaGA4VxqISgn1mC3Y0SA8qmiSw+ue0WHHOD4XRM1//1+N3tOrbqukAdNCOW92VAdOqF5ib8kb9zQ8J3gsZBDq22XP5N82dfdtxgF05scUPb/NE+3cmZOf734WEU2V8i94XNRvcF5iTA7oU/k0oO6sjToqA+6VxokPG4TZK5TeEaY1dowyHyv9OJ9vMGo5gTlTJXNmLs6UgBTlMNqSF6/y6hbtKdtfJ7PEM5ydX2SjZaVd/h0jePb5SF7+4rLdCyfSUskOYfgGCwYoC1FO7w4GdGQWjV6uAaZUA/9peoudBgaZQUNVcbKVWaYWqRINQD9U9f1/1TUy+hLDPFx/IjJBFIIZ/hteo8KSU1SjXwmyegF4ClounjNsKpqOVl2uOvoFbTWdaF2lga7IAFam/8c2mc/JyhLhgGsBVYRj/Y/m88o1QSJTyDcLaVGm1XgSIR/cLkwz5ixeDeoA+famYZhye5pxyXNjk4K07/IE72YXNcGKbpJMjDajMT0DTpRVuqPvF2vsu/GqtQSfdJ5YZ05jHsrjl7y6BZqlvkwZbmY8b7uZFIuEwFzGj48SO06b+NLadTu4ZwkI2M7jlOJrfyHxVau+RzJzA06Id9PfFMHonmAnti553+r+TfdXuXSQfeV+kWFCjxPAodI9FGwHc3oIbGNNXCbXdvDLc707w0Xhl+mDOxK+r/H58igGZ/i87guPPh1ti4Leb9zV38m9ARV9vFHCoXujz1HouYdaKqoI2r4Omxn1897KAcY/mZyKv3ruGTiFRpKjK57p1up2KNm+X79RMQbChSopdqS5WtNRJy5EJGqrDGwf2JX5PY36MSwZa932F+2elslM2oIcjiFIAz9nH7ggo3BvilFEKm0WQ/tJ4g8eYxdRTTG6f//rQ+S5+iXCjfLHFEfofIVrNecvX3mvOeDK/XP0wXqqf1werh0MN8fGIUzHlYbo0aXUmniZe1oZpq3CRhFguAaByBtTGA1tOpjRQvKhXl1M90NYJJ8jX+SV+dhq2C/fLsFoJROr1badU2aFEasZnnik0kzKwN+tg081csILYw1OwiGuVPTLJUKq9kzPoZ4FmqjzSI8JNKC5Loni/U+Z7UzFu5NLh52JGzJpdzw1Azduxbv0tEBjt2IwkXEF4X5QDthBATv3OErPQLeXgLvxSwp/Sji7c71QCoVKvmRQFN7PNA65pYfPseB07gAcIp4V3lB0XXtyx6VC0K1+0Tj1aS18cIl5+5yT0J14VJWspefpCjnQl/ZUQpMFjgBJDKYFsfF65l2iHt88Zz96dkENCRoFnhAxkckMwcyvBaHcE7qJ8TFfcEm7Sle3vG+Yf2eaiJ9KBE5DdBIOc4qt3+hTVhr0MTP7l2/SDnnNiAbJsmIMS0U9xNgifAup6+GiJzi6KReSkk3BIfyjTciVl49f6GZ4GzNVirQf+Uiyvh3p7xR7br+RWHQBVHPFXF44N8oEAaaL0wthU7ln8U3n2S3xBn8i/WVMc3pFnrXn/X6+dATiWktdUdQy55rUz1QoEr2dKhUN3jww0V2UPVhdnqFj0tCsPa1JgQEER2ZRFm9Wqbym7PAKKLIDB40oBVg1yT1s+Ri1OqupcCrYB8DK2Zd9bBlnqOW25kkrBnT/c4vKAgGBu9/3Z8zttgfIXQ8gqDdxoU9/xCt1IU/Hi9EIfmg/5q8esUbUgL8j2G5n6GOG5t11Lqel1rDbTQd+hINxX/4V/23LGXoDSdGcJt10tcWfeWT82n9uQpPVgcLhiYeOZiIxVKwZSQW/jNQ2lrJR11/BkKHSjAwCDaJlKLtsyqND9kE0C1ujoC97cuzvA/vd/CqkWtuPHANdaKR8yGdHPt83J6dBP73xHjOyGN5k8Kn+zq6j5hEqF7JMb4vjN6j0Vju6fND+QnfTSs0EgsMTiVIb61l8XNmFc9IrefjlcBntTeF5/touEAguWKWBVgkR4uUleAgLdZNX7g6fzEmmxh+GJFHej6/p7mPz+4I6J4jmDmpn5TnpDjETb34VzyaTV7l94UicO1ZVoao8z59SnuAEsJWU5smFCYXtsmhS9P7gT4Z7vnHDOQrTwGBR7ao6yO08n03TOv0s0r0wnFUEeL79uBkYsCl4qlWQDcA0pS3WMgFkS40eCXVt97+gVR4zbcd97HtYd0TTeTeZUu1yyo5QDJvIDOV9DeBbaJ3UGGhd2q2HtTcQjhCUYlK3aYp9ml7AblWz/TbEGZTUlT8JFUdgkJNdEH8lijP6kqgbOpzL3itUlsTJV/u8ek8xXef+3DK7NNyYPZSmAz/EXpKyTNNi8HSye95kCtjEwSDjjKu2rytY5P91Wj0YQBjzqR/+2radEzp8kniDNR7eK/NiJt7+Ps+DgeFH/tQnIFve1oMj0Xyjspx1Nev0oUFq6WRJVLqPlBvG7biwVF5h2OsYL+WfuvFbNFyQbX6ekthYTa0RSl4s5GohjZpTbFZW+p9swMby6euNGxndIpRsWzkBexhk8xwmMXpT+ElRBBySsXyPBCSzkDiRAS9ecV6I6WMDUkwtiH+lSpBDLxJoxK4wkrV9Jd42j4WK1Kg/HnJE9uOoOzZ3m6Sl06SnODVR+ban2j2F0l6SEy2RQS2uau3n2WFHI+NR+E6tOVJKxzKm4FEU+qraIui6m/LJwO4mp19owJCdg5gr7NZaMHDS4Ouq2IizejB4XlPf+iFU/NbkFvOnq2/6LMTj/WkcSl0os5wndN4x3i84fFfJTwaz0ZbO9vd2oN/g25a6qxX3J5Qs+7IY+agtaE/6WSZJHpeaJGLYetpvwaXdlyfToqVD8KE7RpeV3YIomxKWMEPCYhB8RfupCJCfP/pmHHSgvnje6e+cRX5kr5uMSo06ewwXpPkye7cHNHMIxrX+XSuIP9MK5NhLxn0bkPabXSV/EsaTioq44oxmHbrlDl55QtdcZTdBuR8ZZ1NGspdvZUZ4VBcDJo8jzSA5rGDmA8WZwmsMuGO/NyJmPJwHgsZudR53dlA1fWgNYIw1ZuTCysxjNDQJ0Ak1Q9REtqklp3c/ikm38UeF4PGG2OvhsVUgjznhYOYZ3hlbq0nB3PgstuVcqgc5Oz8YtmbtvvHSOiTDyHlr/C7ZftMPJ45nY4mDJmolXK/R86SX4SogMdJARRh4/svfm9GXeuqeU4Aq76FRxA0uQORtz4sOnfm7SpxIcThaQA+AXzic+gnKkdmbmEUy6LMLzWqR5cy4H/ofHcWE4uVG5YvGahCeal6mJDN3mQSsDhx8AdzB6txXf0fAcWig6hoRi1eYSmkdGCuoiAnRLr++AchWGjnI/Vv5ORlqSVyT4wSdpw+dcNVrWyIeIICAEMNqr2maT51w3zerA6joTbQQ6nD+FDkZFd8jyByy0uxdrKbVcyYgJTU1pdXDlmk1o2MfL2KCeDAge6QHYNGKt7G0fdr1qej775XejQfsun3Ae4WREcY05z6sI1WAUdv+2Ud2YBlZwe0lVaCkA53olr+OGXlVirH0xRqXQ3qIGFQ5mf2vtIntT0tFuTJJqXvS+kromvfREhmTB6+6bHqeOrXcm0CI7MXVGGogPOGv/uzcon36NcKEpclBhrotOGkxD7JOquYsXIrbPINzUXHIE57FLxHJ0VpsnKFetEBK2QvrlAwKpg0pvS7bKdMi/rJuExbgRdp1kk5G6n2D9LdbG1meOvLBUie+p6xuf13LOGzgm7eaRSfbNvXwbu/Q55uW/uLtwIuIffOamy5XFkUogp8Kdlv2re4vSXRSTMrGQKeugkhLr3vVybCWK2EcO63wgCZrCZN8uobxqfHYazr360sfVxVs9PpNvaEogBtk1EpjJFqviUNlZbTpt4Z/Uta6B0s2vVIP9ZzKJX92QzNc+NIqPCkqh752lKScnX/89FIvx7N1ZZDN+DhFy5xL3L1l1gq9xQxM3ugYecXnRK/yIYa8kdwWd8QtZjFkbuQSXzGtkhZvx2iPrcoSL+wsqfMmSu04wnNRKLwrEuVTndYl5tQrGjSCwWkcEe5isQn+ifPZLU+P/wezOfgRiMWwcNpOMG+/OJS2sE0oXoWo39O2Rv57lheJn83yKVDDFcNUud8WVn5pxA1UQvu0LKZxvbYqXqTdZUoYkd0+AAIknTFKMq0ZQkeD2jJv5VraY80CQ3xkvNiI6spXcwgqYSKWvAQikX3VO3VlS0MRVgDbGajKfWqHAGYIZtUMxyVocdGe2vElK0ttlDgEB9w9l7XZ6p5Lg+Uhk0KXPbYFTitHwTaKU7l0e/sM1CIL02mkSI8wDPssARrU+4VTfxMW7tHIWaTDaJ1rzRRw0J8LZtraIHUu3Qg7VWyP2MNEcGuZ0rg2qOhB7W/a6fSMdPNcoJhwA6ak1oAphdZ6o4XFfTjD7KNjc+xeEMjrE35EYyLeLcod0ZP4QsrS+iwns5YgcSO760E5s2+p+4cQKEVt9Ok+Wsc1c8uy56hlRj6oICA3WxXTf41ZO3R/aA9PYMweZ1KE45N12f8zjROnRUuNaFoOTZQFiDz1x5Cvms2kALPsJbfbsztg95ClKLC3ItVxjxqFTDDqfB/Dei2P94YhFcDStfUznI3BGWdBU4L73d40AOKOmqTWwX0CSi3MWAf4V6PvHAQolD0KzdRjvsbmfBuklGKhxj3mezSCHzB2fewowMF+i2IWDF+IXYpcgLlfpMjnIMtZ9iJUfMLX/ooWN5r8LFui8Xnhix19wq3zifQ9sxEdDSP6UyqE9hJU27KQ8ZykEn1F5uPrcyIcisCPDUd0uB7+JKzc6uSdhKpiDGUjxMiXJLXM6gX6edH3Vq392iM3oapP8rW+W6rlteIscISN6zvSyXgwPfqMAuj2fypG8f2fCCvhc+WUZW2e2R5ywliIXCwg8YhLZ7jOxE+xcQXVp1mBbgA7H+1ytrUhpcWwGUHyAMnh1Aw56nZcA6DWJBlS8FvzfJYN1zicehev7X06VvAFowo27GJmkKfA06W9hNjXTLjnpWc9yZXLDk/hK/pZZTOwUlOR8CmCZXIoY/4iXx8t8ATG9P/Wj/lNDAaW2EUSwJUttdFO4lDveh5s+4AR8D9Al77dQBrwboBQVu4xIIXBI3w417R40PmA8K6orL0BHPfeKP4gANu6RS0/H1fpYNWPcRUbnHKKcE6k+H+e4rmTQKv9WEcSAqrna8OqFjGWrYW25zpeij+UBNCWODz/aRjuNjx29ecEnyAxuynXwpLQvsubWPejkLiv+k5PzuDOAw1My+z7TeKj5/+zyEidZnflwUWXFpEpzFGLSqnsTSS1YrQG8k07Yealxrs20QPbIAI/k95cta98FDq1vFdbqxsLNmvjtBQUZqg52UgxJEcCJVz68FJKu64N/jSYfekKp4AyJmLfcwjt+WLNzwm3SiDjJYb2FZKrX6bc5e18AqefRGSt4FDY+qGLVbk5VVqxmdhBzJaiPZnmrvZVC31QrMe/XR3bmhgKX0PyumlD8jmnZ61KcLE0N4BXOowhQDAIrP4HMlzUJLaydEaSjRja/bVacp275rt9hfMAj6x8Dp+tWNHqKf1s4kLL4F1wQf4Ehagm7tyVNUrlV4zYdvKX3mIYOs3nlMey7UKlqacxA95cn14CBygou8n15JVJRRyk+ib3D8KhpLvYyjxnSy6leuuXnwnhWUwljJ/BdMzjykUCuT8xqWJ2hnuMlebUeBJ82Rk97Yijbd+2M8qZOe0pQV0EBwf1Pp819Pj924LACap+Pzaa860QJ0k6KPlJXCx9zUOkkGZHk1Iez0YSzuPeKNd9Zbdk0mQrfbT8LW3lCrIJO17uI8kZKxfAEmIGKXIMlhqxnp83TCFnFh1eKbmi/DBDBSHosY1R4AAuIrOvc4g9YUOHe5pb8uXmeo9yVDer8Y2Et8K9e2KmpvO6qXpdhheCQEO434jaPI+J/pmV7XddZtcJyKUUhf/gO4xYvouD9/uIPIJp3vSy1YZrVmEKngQGcD9R2jokhoC97xJZOA7e+dpT8/7S2pEBiTblyL7pDzCANgDH3ME1EJYnKrluR4mf2g9CVX8FkzF1X5ia0BNh4JvGb5X/+xArem3sdU75x5X++2upwRxrnnCXJO2UXsyIsqUB08GLx7uUyjIi5KXkFCcpPrtaphMfUinf9tM8tPAah1OVW1OqZQJh/d6xuhM9HWsIche6zm5rgm2f1meHcXdAz3sUH8pF9PU8o2OvOBiuh7yo79zkjjorG/RoSLwnNEQibZ2ELWgh2Vm7+46gXvhudZAhGzBo9o9D9cyYDkNSO/zj+DuMZQnnd6d3+OZBDo3dlqz84x03mkJeXL8rTfYhdlXJQAOO4WttKv0q0je0ZCA9DUbKGOQyiHVmYmpnLu8Gj5EhMVy41kG23WBdRMybAruzynQ4XCtjRBxsvJ5kmwxg0ctqZrBgf05EpEopK+er8AUGFsNN4lnd5U76nq7PDSj0IcK8zgiECGDcN653HH1yIauPKJjKTusZu5L21e3Se3GeisxqNOZCmMb7lFdp8T9XgyUHlSwQk4gzgCu+A1w50oh3KcSWSd8GV79S4kUPLPrrQmln5ili2fRqkX8XORq3hp1SqOm6UiwgOmoI4mlTLlD1qDnfPrYBAISQY/UFKw4y2NsOK9zECGQrwhILWmeqyoK3usuihkNCZv1Of7W5W/Zr+COXCwMpVQEe91MJExvJqypIMIQs4z14OcRfnraWta+qWdXx6+tVOjIJW12qYPsGRlrH/9GowoxNNsMJZytZDeI6EHPF1W0kXNW5rVRDsK8y7SvvKsXmEq4stAkyJMDwGoxp5bola8ZuigAk3Qxn67bLcGeDLOFhJi/rBSWHXavhlCv32Rl35uJToQL6WL/rau4V4lpR+A7j80u1rsDJGGRDfdl8sbOluytv2LMj0w6HfGjfp9aqMx1QdhrQhW2pEuu8mDpN8EAmr73lVrozjxG8FNCGUxsA78OZoY8zf4EjTMutc6hGjrcqpjLLBsLUByMGjR3kZJToL8yqyPdBZvAvSPWIhEA4IKewHaCJ9ZRqxAVV9zxyXj5sL82yrUbR3P1Eksu8ePzWt9xR/0mPcxDQ8SXMpr8Yvjd2LQM4xOLDFgXYTVI//sMr7pvIUE9Im+W5UkQXwXgsU0EbFHKVRGK6bVj9CFAcEdfVAHYYJgzFBMSKEPHsqXANL1Cetgyf1uL7E6ZDturzKD6NhAsPD5gpOlIJxTjOLsJYJb0ZMJGNPE8r7jGfevgGiFLi7t+UdQzkCe0WdfBpM5KXAuJ+u13AOch3A7tGWlVuiLrzRt46TygGadAiGs79EkUK3btvPwxj1g1t2NJOhZZ7ofBGZF3sKD5vPMn/4heBBSE2GuF1tKd+p0CAAZZkhnLT5ozK/idMwDZ79PM9NXHzXsNTJY1J7Qk1Sh7cYrpQ7DHBA3gsOFfRHfg2VJMuPc+cQhJhbSYS+pbsr+5wKFgI1GK6MfW5NEGmcRnVdmMYuL5/q2RaDlkAjYyfkiG2X0mmYeJBZ07oSSfMPWXMKoBdJ/X9Fq7r7LKApL3nTG67/9TS1adgIQjOPG3NNId1RtYV/UbZOeJML7JOgzyzrMfY1U+7r4gCldLu/ccrk+O0vMeuvLAb/wAJN9CHdzNSYqLhMg2A31VZesdyPvr9zxCTPjXD/g8XrBf3l5B0nuj8YIgm6zWEmYN5rHZqWwgtWXXDY7olj0ZhKdL9Z1lpdTZ3XpwsFnoQ86SUJ7kOLLv7aF3wP+EGSmDhHBTTCFFG+WQ/SpYfGy34iJ3Gkj3CZGbkpl61fuNbnnmJZ0Dfj7yaIc/Sy4iihelB9HM4b2ru3JwhAFzirPi+MhsHNNZtiI/k2KeiUhKtrJ1c1rqAUIT1f4xM2hoYHp0urf7YKKUS0QvSSp350pyNNdiEjPXP8lGI2NJI5EQZrjIqKPX78Qq/DIMgkiSasmvS/SPMh2AhVY0SVqlxy4Bs2QR3PNLTpWKAF4kHvBQBgN6xr/M3Xhv0s8jOgaFd0cDFvsLdHgG8TWPERZ8PREAaYUkW1YIsvwdN2bGLNrb3/Y9I85I8Foh8olrGV9HRXtdZu3xFt8zksosG4HSiW+W9SrKkjilU5aqRuF3X+KhFwIKoq4pev+/Hp8EX1TEecE4/WNbyfGboIa0R3N+qWNa8bcbFYHeNuRXYUaHqgL+mP0m9fovd4BM7LTXvDO/Y/3JfPsamJHoBtyFkLTVJt6NPGfjSdesQKBcoKYOxYxb2HMvg790HBFanxC5bm0RJ7rVjzHCYrPdIzBF4taek+MKaEKpUgyqpltMeep42fbwQuty8FJZIP/msvN2ikGRBxABtJP8ElLs/R7QYiCeO9AEtiF0+Vc9Zdutwarjuar8V0U9aIvu6JFRax4BUU10uXPkki8BZ+UGf9ZfHTkildtUgh2NPStpPhjidpIir1+WBfzMAzrBVO8ISze15SNRjdVRyDhWpygXibPIADVOT3LfOWXGY79YXiQ8+jB3B/c+5RdZORsGGB+AbWhhWSjVbZyzTd0c14tbzV9mtus6f2cE3a/2Jq7efs1f6jyaqS559XIT/vbus0dBZXetQShSkbFLPItkhkMdSI7SLVQ0mg7DJXaZEbt9DOlsnNit29Qp04XX+JgkBLjTfID+RdWRK3rxmA7vo5dqX5MigFaBaS6kD57xmzme9Hfd+nBblb9nj3ji1QTMgqCwY24ZlXm0niM9DVRLZIzA3GSLKCpWmjg3erFMCADEBz2Aa21tZzwyAQtEz4rohz6aCw8dG3AUH8K/Oy7F4M/uXBe5jlbgd32yxu/wBrOzuEL8YoqFMMZ45gVp3oKLVA5uKh0NUr4mjhMcQJi92nBXUc49zqls0TY+ezoFeXbBOb5DRuwo8CJj7wVm3zWKNtRDOMu5BkpUD9kgER+L8cI6BaavJVK4Tt2dfXHk/A/SMB4K8fBiL35uHz5nKMtJR9MCVx3O8jS5KHI4cyHHDYv6rid3x0Gw3rapD6tLchK5GWWjVtQbgGjPJwHC2qv7K/MkwtuxdqthmycCedirAKy9rjAjZdF4EpStreCWIOV8FzWWCoCp2YYC8Z0gTr57fyHhD7sZQl40xsN+6255aWHpFKWYDFHzLRarj1AQzbIdPViaX0MsX4NvAc81JgieUAh7c7bgecarqclF6UctltSu/0RRGpcd1T67CED3ST5XcRlofA6r1uK9xtdIaf6JTY7phyh0d8T3PrXP3FEym/vL1WqMfKlQTkvt98aw7eKktMc0SaNC1lgqhAiSxlMYGYCVPnf4Y48WiLjAvGnvzPkS5fJGqR1AcOnUEDpyaiBCUkcL1NP6QWyDgswQclGvvP+OQTIEvbVLRh7pujYoyAvwoWp5O3XiDZbli7a/CXWw6BWNIfaIZwJs00F/cGdgKieBkfWy3BU7PvfnaxUSe4wWbQ3VvE9vkHbN9J7qGQIW9PyMpJB/kH67oAYLBpo9yIFzAjZ6oJ4WxmwfSn/DE6TljnhfhPxkj60K0tcw0CunJ6tXWlVnIQuTrw9M6Sq3gixYlbmgOFw3Q/4qVgHWsl5BhiCTABQ9IPZ9yV5O141XVag+Vj/K5AE8ZA/z6X1W51WTGM1rFrpAeCRHZctOMCBemXfAnpWfUOrs2sYkc+XViUeAvfA86B3KP44du2diAF46i+c0RyNiPAjmWL/Go+NLi9uP9azM/Yw6CkUnMp9UU09PG2NiT0wXY7vjxa5lintMZAfY9+Vo4EY6TxV4maxcIvyAaXhe6cIp/pXK4M5FLIO4XqlNqTjsnvYUbgBG+IBTAObtUB5US1evdSKl0MGs6x4NgbhuDKixWBkRO8x1nU96NIydOL0Gb7m+egKvgbY2tdUZuRAXxoxLwSpJlJm6a/kD3ya+xhf9QRSWYYsGRg+dtinVosO+of0zKaNEkgcWhOHe9sl5V/CqeRVkoXzTlu+0Mvd2WsIgH0zgTP3T7fdg6/CnTR38lWMRGl2yDdYvJz6V1W0+uKN+JO8X+58Co5Nm6H2+wVf/IxncH1ZjCCjaCcnqIaRx4HIbuBk7K+frCw2/f4KsGFAoYmwm91NNLof2gYOj/vr8v9LgZGSGTcz+RA3xhjs7D4aywLNvxxlw8LpfxHQbd4pn5K9SvN2Zc8+SOYHcEiQ4Qe8gVtmCcOKvlbCGkHcpB1VTkEs4Oqq8HExp+SX6BfYLeIirE5gMi4s/xMgW/EsWhW8pvC3x491S2/PbD/aa/g+nB0RiUPcIf2c8PZg76ZLFuUDVxAFl4+9mIZ+jgmdi4pO+z/eRPXObnJYWRnrk1QhM9/Z0h0r01mJNWtk9hOiI/iMbJfbsF4HsMAlvdj/oRvRWQhmp/U/epcBYhdjaC+lsuiRaLIRgAhg2TAcd3vC7uLE64A8NBPOcgW4jJesluhT/bxbIk+tR0uViQ7/lb7r+JA7x8esOdMVrqT3OJi21ufSUy3SFRxIjAyjipY+BO13q4dewD69bWox3uklWOyU5H7CuD7ZQnhP4HeFgQSDQNcjl6jkHE5NKc298wZhS/f6l4N7hUfFIulnQSVn98DjLI++XfH5didCha8yBATkeTxuVhl5FLPDpn3wjfibMEcfxPSW83k6PigwBJqvdyUl22oeoJjNC7b+oFpzoR5lb+eH/cvR3CFTCC2b48THEN6SdEkS/kM2iVFxSLp/VdSUUK6xyhDRiNKro/yFuElANV5/bBuT/TklVr7rcckJHKvbYYDuTROYEKlTO/On8MwrSOsSibfqswD3rTVaJmM8VC/KxHJJAHFTZ8V5QiPpVpkCIX/JfGh7tDwIyn7mBdXbn5IEpfEqHkpxep254tb8vXR7RGxeBB93oTsBaDF0YWSnVm4QkS+fAZfwwyFFMYeTHnB7NQ3nV6gQAhmdjVBQOhfm3ZILI/rl76KYe8PXEIm4YED0xE1hF03dKeBNznK8Z+8MyiEdxzj3+TG9ngzMCXCff6uMIpm+TgHiMKp4LfcVoEe9Dh0li6RpwMKZxcVxQ2dbAuOyz4qu/QR+STQGWLqhf4+D5tBqJVTMbB2N3LM67lpyYKjhL6xfTKQ89qdmMZaPCW45Z0H8pKnYgpFZN4ozR8XUoTcRw35SJ79dc5TR6HXLnOqoojZA8qCrMKPRid9RpBvK10Fu/5gcXiquoQGbOmEHBHV244+zCxqVvaCH1VKzaPOsalBsjU1jP6sVkowxyzMPO738PY7flGEoFVBSlk+vIUwY1JvtOjWslO0hWoyrgmENSOkkCXFE2pGbH7aClJ9shKYESb0M7rtFzEMIpHG1YyFoRQ5HHOXBAoBd8gM/X08qmQw5/ihQYj9CIAqbO2xig5ZtRd6E0mWHnGOXiBZNxm1OYN1pFhuGUu5LFb4iEM95hxlH0UzSvALwtlO8abzkVtIjYQi+6cKzBfWJFEYYziwIDGfyOiWCt2ajgIAlfXIg090/QFUA7RIXbeQbK06mRoYGZ/uTzulVAkoD3xeSevusKWwjp8BlMB48Hi6G8QzMZYMX3Sqb1ERSOYuX4OBj3Q6X3/tZfuNMZMz4K4+QekUZ2h7AASJOP55FaCQGGsADD1e+6N4C4Fu9WWBc7AvdyO71+7kcuFzIEUJzCpl0zlkWUb5CkunjR9V//r+gmbfpd5Y/80i6If4SPCpfkMUP5KzcwK/1FngEQBsiPIY+w09cCoIsytyE3Q+pHAk3pZxgaVexpkgp4Wn76z4YZ/OR/SzEZmpXsoXH5pqN3WwK6S2T6xQ5UlaVXsbJCMIsRuUiUV4GQqY2UFSgGJhSGonWDHMjhX9ZFimcue9ZKeQXPfJmpHPc5rZqxwUw9oyf5pNoh5OwKoRYaa7X55oLHeh5z9pFY+3n8my0sB4O3vM2mlPdGW13ZLMztW7E7wP9Gg5wBJurEr3olBMm1bC0j7kam+dO/PCaxC6TTB6aHba5XcLQAFMlQeQMiEl1tUn+BDpoucpjFjDUisFRDF0zn5viVJ8sp4Mu6ennJibt4c41Hrdyx0Dr3NTfXrkmTmx2P+6hRvxZ099HgAbYVP7j1hJAVIuQQMfSno14oBEb0OFWlc4iM9nhV8KpVZLq8WN3U/Km33VaCM0LilCKjoS+tfl1CpZltPgteQmIkk3cRmZfKMbjdv0VpbVWvBACcm3TvnoA6DoA4wXWrnf3nG4wYoAb9WG9cFi3zpSB/yorfAvoVO99R1I+vUNL4Z4Y9PZNQzLwRbeV7XOerpSYCPzbEjmrCQ+g61Yf6pzvbkuf4O7J+BHF7tXu7wTd+a6TUHXZnMnih42ojChcVqBYc3DtfdqAwsmAvE851wrKgRelwDpygOUoY6QJjR2Xji1iq4hOCKVJRmfLs+TFTtsTovKi2M9QZURhu3Ace1z9mayBevI6WQEqPDa/wIXwtDVqCQuguV6IFcjYo0Z4+uDAeWIJtJLMB20VpCx+BcLzKl0djcKqu2k1hCAifcZI0YwNV5+Nv4vl+pQAYp+Gghi7uZb1dVtiyomYRyAjJmimndGKZQ55LyNkbfY/FhUpUj/GizuGLxWQy/ph5kJ6LBx8GKXQKPivME84+ZpGRfFF+jP+CXvsZBafH1kKh90kx1Tdqw/ut9eC9rQAfat+c7QKfP3jyZCfmJ5ki/5LbKlOoW5wYau8KF5FeSQVyRIZw6ROENf6jnghRkTOxc69Enlz1bcTZQv7Qtf92yHX+CntjNNuL0yK1BH5smSvjj6AQDZuokPwBY/GgwuLs23WylVa6VFuazPSNd123lz2XD+jPrGeWWUXCoKZwvbMDmqnSoQa5MU7uGXEVpgZ4IAv4jDXB9OjUEiWC5Q9Ql49G3E5Bxg9Cqqbf6biUqwppHMKAQICbVqD64kJMqcoOofS/RXomgpeJ/ctIYUQb4tKpC7uOMlXuV+8HJyX1mlKAT9TFKd0M6Yd/YhHXntI+TQwOciQR2hY+mtmH6SxKwsuE7OXo96/HizvxLVbUBFmhX1uzxqjQjrWp+vgj+Yr66sqA4gxep8+JsC/AevLgSet1PcV1pJr0XnC0h6N5RckTzSAPPKY+9k58JdA9YCTXkB69BTqRxt6GwytaaQGxGJvc28KQETVH+76aw/RDB2xId5A1js8ZVW/Sf72LTr7JbVqOsLoAmt8GI0jKwWAv+vxFfEcAR+dZI7kichCieGMq2gUcCb16uPhLjTbYqjcQikVIyrqYoNTXvtRuJko3/FxIjNbKCscL8Nrnuayk9/ThGU3oaQ4AqFi9ie7tBInvLWfDwTeUo+Xz952+lEGJyGVnOD1Rqqbzl0c7ImOkC8ovPGJtgsKjDz9FNW3wgqvDVzVNyeAFU9/ucQ6gX8FEeB+xEPI2WxPruFkSKYWJH9UAt7xWeCycotwY3ezJDvYgVHK76lwqxsYoob4jC+W8d1Jsde0yv8YE4dJBULctPV4E3qrQqy7vvea6anNzrEbkQxGx4979wXoKFeVbc6Z1IP7Kxy3pDtNdchVvbROBFY2nHNhdFW7CUGUo1MCgBjzCpRj3e25cBZo9Xm8SvzvlztLgWvGodoy5SVCwCKLgKfANhkb2sbLN98KpZZUQQXBrRw6L/Yvl4DIXfWkqQTvFlpg4PBjA71DTWc3O395R66iTGLQEbgfu8/o7FPF7p8TMaYHqoAzyOWCtvEyS+VJajYkFhOyQXT8ATHP5KFpAbs/QzGUwjrWNC5mZk+dAat+nSKPGdW/hbAKxTiojIm+Ro3XVRGk0uVxEm1tslyC41qdKt1uZ/1YC4XOdz7MQzgrnBUNe2NmvSbU7ZjZMv0sNaARymRDmCBoUissw7I4adBYAMIqadIUNG+4QD+hqv8EZ6qqH2O3+JDM5XNZ8Z9+341vhNuS+wmTa0jO8/1o/mOqUobJ7OVo3Bhkz2BZ6Tn4wbn1xOR8U48Zf0oBqLMFKdubw7eLFQxQG8nhVzTO0RFX2r760O0PPf8T2iV+YqVGu9ergq1yu+lHHon6XqrBGZQa7aVhJJyIYdIul3coshcR0d5Y0+cJbdoh1H1mb3QcZ2Tg233pmvtoIOqBj9BseZ+nheAfzeKfnbgAQhkfQC17npUlSDaPlb7aGFtKTKYc9bLGtlCtrN7eVm2TpYHuqxaCdMP7TM+qcQSfE6AJ6W34yR9sRNqpeRWDpmtxXkM5At6mAErx5oiBHy/yIrnMXRwTSfJbw3mvdvzFiePNWZom1y9vrGoLNuG7dul/0aNlBCN7nmqOlIz+Dv5qDBuX1Gs30TS1hAV6yZLReDfhx9fQQUhJoXVRCLj5yBEx/Go0wcLUeVHgMammU2+iB8NOIGUg+87DR0udwucdj2Uxy/opO3FSoieK8ClzG43bO6Z5ez437lRvhJO3x9fCRE8nz8MKQmNtNaMmih/49vJZyVC8e9wh4r2/jtkXypIDp/Olpu3wNSXq6hz1Q8HeEXd2f6U+VAQ0sd8r6bMAutO+pL9AmgL1kKpTp8/ei95LKDEpZedeTgbVwFugGDVYl0jQEdHDcuFGTTxsbrniz2MUZfO8bVAjoLuJ1bt5SFixuF3MEf/8kbHHqTjLN5/TRbcJAHUcRMfzEq27en8tRf2PWZLcQoeqrZUrHVFvO8hqyYLbIGdEQsPhe07rng+g5GknNrTJkX2JAI/eU4Zl88E8DkAv3N+FfVJPna9sO7FNMmil65ps8X10TlqCSFl8RtHNMzJIySmepnZbdFN6laAxe2CQigBD3tRulT8ZjoQuX4QfBnxxx6o50Avvwhl5e8A5OAXrRUddzMzKK8gyz8iQ7u9j/xizFn4YS3zGF1WcXtGQfyCKqXKNNkSKwzVR6UUtLoJk534hS8UGZcfMGzYmOe2fnUIZcYmizNmZHl+2NZrDi+N0bIUlJrikmCyXz3nBndtQURj4JTV58egVgW5ZXffmkTPceAN/6H1NLAAsVSgmHW0e5dTlYxqGaIshtXEzLXR0pYNE9sALiNnE7TfqkYyaKtiy4SLJofgf0+npU9Ht52rLgwCjwUimR8KWSRGRBtuH3I+OFmLKimTVLKl3Fhjga7PsUUa/1+LdtRIlrMpRTqrKyA21HH2IMy8QbAoNiqX+RNUCv9GYZMCC8GKROdFREdpO1cZjX97nljTOemAsCHEkeF21oNibYmdkAmXwIZNFZPxEDKstIyq2QVRxuY64eISUjqWoOITwUa3VPf9PXrYDA8X2D+pTObiZYF2n2pW3kSUM2mXgcNfZyu+dte8GQb94QqVd+jy9n4Go7xN+HYbeVDEc4vTtPhuxfBijfc7KwOL47lcUHRq5eUX4MH6pjpGotOMi61Khy/YhRnVHM54YvmWn5rxV0Ai0AftWjAd6qiu6k7m9e8E59a9wwULSKCOZGFERzG7llozKkTvmADXHdCecWrxiwIjm2aOJ81IAqfuaDtYQEozXcoWsETFoeTkrBvBy0n9NtM2UmGohW1YGIpLueeEh0/UcxXnESMqFP6LPIq9/WYjeodvJDc6VPO0NsXDxvRwZKj/AJU1t8XlprS/jfH68JdPGz8etabHg47glKHWZO2qkHROlgLM1dhoYv4okaP4uGMbPOaAFfJtdhQMuDbORH5HNq3v4F1na374bDmo7lBi2TBWzWjnDtt2CNVuzG5fgzSFBVN7C7HpqLaCCZ2pQbOd/vdQUCX725o2ENPw3rTFolEmo4+vpUHkuUH3wQqkEy45pZKvHhd0xDNHl3o7yMoN1nkZ/4zkCJpKPsZtPJXXzpv7leLcHJzy4wq7YXneKM5cJo7MA4eMv6Fac7Ck8CcWNvH2HFy32QZAyJgQhL1ANVZ0VRfWnO8/t/IwSL3LWXQUFn78O5qZbwwgih4lI/j9YKmRze7JMlzyunV0e3wm3QeNNuCgRd478KxgWZSEi5u8h2nqlrjM1hj8LlVD5IBxDRk/eb4pQ+3p/pWP8omdpywwBlt4YrzqPxGhDz38DL9/dnyE4zMi/jhkmu02D3nDW0P13lPz9HBSOm3kJ2wuk9gaSrvsLNVADS6QYEtR9q70ZhldMu7nz+gRDxCARGzP3u3ncsmDM3uOTGNFdVPcvjs59QpHwMLYecCUQl/PcxkupsQKRShbdRx1wMcKfcGjalsGuo0WHKEmdm3bgE0qIvWjvIupA4sVXFi7QkdKX6ypivVAKfNJOWPnAEycqX7E9P2xE01G7a8PJil4I/kxuRARZ1v13UelSDC6tLfMjKD//y1PYq87UvvYuOsVVldgTeredmfstkQh6b86mU83qjbnEKcGTWLB36C2WlZ4yj3RKo1Pt111J7wWPC1y/XX6XK60xToL++mfaEmzvLqqVBOjL7i9kmKtUwV63663GCFmAiKM5wjYlIY7g29TwChijQLLQMHg9Uboj8PrJaUfn2cupzrnYJyEmw2SmmM38rU+3WEiLlKDA5B8pd0d7K6UMW6mgPbNTNtrNWHQjEMIt+dg14goP+MEilUxcsQ+a5kvqPsS7EirYKZAbCtXOhGNZj2Jl567oveYbRHBxd/I1tlegQLWtUCluYLG7ULtadEKr7fEN9gk1sR20QPox52pZf6fr3D5hEinVDoWThzoEEyJeDbh2fCxJcpW3CahuRbGa/8XWQPdBQx8wG4DneMIam8DnbBXg0JF3y0ZBjx4h9WHaPVmyIZ/9VF4d8xRAqLJoIruJk7mXd2xAgCOe7yo3JXf3ULBfFMdZOJIoSUzDbvbj//e9fUtYUuoSE/BD5Y4goBGu37McmptbRDjhDWci7PLGtCDjH0G17UYvUbYi40y6oFWi/4Yh033OPHI6IpySqhLI7mjFSKWuRyfVvLLRepbUpTEI1qb0FvquOUDckTg5574WrHIB2drkQpEBi1SCJlb32MMhuDyMKjjs3nijh2W3NIIXs2WLux4uXa5nKD1RP0WOPa7Dl5XLboohKZw/RIZOWY29yFXdgpWFey+Vi/nO2VsBAmAfnJwdKno6DpVYvAcgHTIoBSiwS1mpicbh3sPqqmBjBaXu4uqvfWzIrrS8wxN6Rm/QISQF6zL5ixIBLWdNH9qWi1H3VmICUeizMgcxkOQ3iwMP/0xCc+kkpj9zyO8n0IsZw2BVEMu/UajZThHiFBFs17apULnSmIgtqccTGi5+ehXr5W28F3WbxLjHIzxokq+mDXgNBmNLghm6cFjtyramJIkNLscLclI08W9HgT75cSwz+XSFA5xcrENOL0hhqAq7C70/vXQGhKGQc2ceBW70rthyaEfTNyClYVKxziiBL/GwD/ZQnffreh4cUiFF4Ifb2/d4BVWPgWXYGYg9/o5MmuS0C2/7QIEDl8tQs/Zzev+cDlwSOluRUYjVoeYWgFMWA31b2rc8HiofzML35Q99koZbMKxLKK5jX07lTJfoSsf3bhH0/xZl/2rLpbC2tNWGNXTuMhVWC1cMLVQuON/Mc4UODAdPqihNPssSn4IIELqyNz+jZtdXmeKGAScSTN9dFDk+ryBPON7eZ7dB3Kk/Z2oiBBKWXKHD1grGziHXaBZARDTnn9oJT6IOEzoWU9y+oZmKxUZDZ2sUM7tX8Kvohh1xpn4R++oYN5ZB4gHxMpPue0Tc3Odc8MyyjaBu+VHKiEkyeYwrNUv3BdjcwhHEWiy4Q+pFGLNB87jWgw9HxKtBBRci7K8pXZ0RLIzNKgj1OzqK/mm//y6VW5rwYe1rvbDFdQDY5Oev4c+H6r+zeIRWlOduH4rofCMmpLTJ8ZgTdKFUAOJIkJzrNaF/Lfpho6M2xP4wLmV74XnEXTY8PULxV+Fj9fcixoddXKRECRMSo/Je2lN+bdtPBT4DY6ujfxYZh5LvYn5ejQQon4y4KJUhQuQnoPyMzNXBSc9MGUQ/Y25egR9Yzy/DqflGT40zAp4KJpiHlW0UDVVJ1nX/zBsq+0DrrKDMQlccb2UJpieFGFCP5W4p9HlvUCmjGuhb2hOteqL8HBBOshbe5Hj93qjQyf/1ae79RK1k5tACDPgD74zFE92pA/hCEkPWpxEhrxqqli3u6agwcoaXCac3IRz37GqZ4aYHkDeyhxNtanhebK0vIPF4BxR04bYqEmF1oGPL/Vzkl3ydulh+RCjZnayDb4Wkf0WE2gXGc4xxFcKaOi8nK6LqsROaBKXzYrh9fhKSsIYJIT/DQG3h3gezVMUkcuM1nZt5mlDVz/yltVBgvRs2m9D67QVyudsseypPg1LeZvV7p/cOY7FeZhRtzna8gDeTZXNCJzandU2CybNZbqkOjDs7QNtYVtNK5v64jNjEbX5wd+SEZiXViNc9CR7THy56sPMSypJh2m8aUcB2g3WfOWieL8hxXHGLdGB9o1x0dELvEM6CcY1qIau6X/N4++Myft2dcjSjYNXOg5LVBqrNWhvQjnkmCsj4U/jLO0t5CRWsn3b8wQS5FiyJk/617gqwG6oGZOokuEKuu7jpHTWW10qWd2+bbbJ98XeoawssvYauCZmcl0vJtRzhcuWeHZI+3Mlry6E3SFrB/SpxEMk8sug0BX35SaKqnuHiTj5nSQxsBNJVtxw9n6vv6XSlvNxvd3TXuUMBai3vQxkRdinWMduyvCyxFDCB3pEgJk/p/iPXkQKw0T4HZ8WCjlViCkLDCLx2VlIb7PHy0TE7LZOsh9Vp3MNsiD8WRnP66cWSHtdOr+4U+cEKyr+BnidPTFHhx42DhCZRvykopWuzIz/hR8IziaJW2ODwD3D0vzhPCu0aB3wXyKN6uqYSxHPJyfL1tQpbzf+fzZm2pKhc8iLUBH/tNplFdST2WMMN/oy1hkv/mXYa2ZtrpPJU+OkITzT1d/wag85QT8kep6jvcyRa4MivHMrr124Vou5ShNzLEPxx3etvk2qLo7dkXawc7D2qEN1Fp4x/2WWgic9G2xhTCj5M+JXN8EV3OiZhs9SCptO4vu/qR5IB87qxxcQrk+Toy0vwj2vYDQr/nIRLbBiZ6ypvGL55yN8GHL0rL/WEG7ngG7roFt4UYUjtq98ae3B8QqtNS4c9B6KaRt9ZXMhLQsQB3m+1/PMnnhMzF6K0jW0R9+ohNuvOT0cQZRobwZSeVVY7pLEieyhW4de4a5idUq85P4YowsLNNGRHbyxd5JWTeDOLPpqghVWmbeneqgcMvZVG6segAah2DuYaB9iNuAZgvDAd4yojKIMoki65wtqpfxIhHyJ2awU/Q3wx3MIkw6kYfud7medUKmx/PfyeLcKY3Lpbwht8ehkjbFw3ekxlD4yDOyQZjKTnBX5tRxN7OJx4/KRj9ZF1WtISSh18EU3RvVYzYYjSwt8RxQLw8BwDfdIJ8FoLI3UaBMjon9Qq/NDJ/3QsXAcl9rPoEg1X3/ZJEGlDMrCZLPJCM7BQK7jqjMfAEQq0/nufRD621THcW1qKAyx3T/eEoM9wG+MR6BoHd2ZzIKtD+osAZ1o0eSfxW0mj/C1ZGjlAfCTj9P+BtZERP5eqLNntCJjkWMiW6wtsBUcZKMhlLRzCSKjCd94kOk/+744wJ143aHovnju5z+vmWQjUugKQWAo8HkEFsJpzBqQ9WTcqzeVdtDj+0CSK+qWlbePK3JkULyrztL6t449fOIoWY1yTdfS0MYX2NRcRfYauXbzz3Yu5KHj4NLTCPfosMGYicQFdBR4BHXTtJrFIH9UjFNCT999L+H9P5rSXYMaE9JvwiMpEYowGgMnQxjCkkvEa3R8GpLTlGGlRsTf/Kt1dahLrTiWHxEn7dnvIWOonHhUH6tNHvgtQp3Ep1CWSWlUqewxY5OSJfJS4iwfwi/8cKYP5R5cZQq4S/EbtDW4IZHvANLvB8GtN8vF6BDuhNRSmLoByxVR5jAZRPVZc3iINAXDvzvsWx4AZkC6oBRjluRNbakOGvjLBVZBRL9BB6vbh2VMTY3a2bQR64s52eKfYax9k0YQhx1bOXzx2knc9P8MSgkc7lZ+n/c1g8xFLYgSrAo1Mq4vljcnxCUrhJ+jQ9jkcoGfQ8HtajPFErbqSBfVOImmBIZjVPUhfwfM87oxrepHkmGGl+yRIThlaKKRXez22eJJXd+5EXnpWXPWMnxa8AapyrJmao7ke1qylbqaeUsB2XB8VtE/Vx0W3aBn3ACJnNK4+2mIP7nCjiANfcFeclTsTG7BC4g+X2Mhon+DPZqeQQqdySKTAcx0w8xcHS1WbHw6NZgq2y6cXlVfc6RRLLtChnl0hJCMtWCcRFSTjFDirseOni2PumR7vpo1QP4tfNbz3br6gjOLiG4zk+/3p1RYWSzZWEBDo1EpdaPXuHdXl0gCVcsY4Qz4u1vha79pltLzHuESl+TsrpUzTF7bK1xLwIQqbRh+VnfUcsVacEPL5/2+Qr6w/9swHJJ7mRlQBnqEcUq3OTC5M60CrKPx+liW3tNEcAy/KZPEWL+YTmGUGRQpcPahEBKMYKzUL+KSESPGe/U6KsuBFbOwx0TpOfMaaQ3KizOXIUdPG8c2ldFb0xtnm43RNSPevD8FQnUTZthjXNJfmMG6f7Cg8P28oBnwy1cB8952tSsKYncczO2IfLNJ3QSnIKpMATXr+NcATE3oGvpD6jSiarYFgD/OP2nm/HiFvxce9cQYRWl6GZoRjBduqANQLWcLERUGQPnG65kZtM7g+dE2EOmIlINZU1vkjK74y6vLRuzexIguWQIwXYduvPALrnE6MUNl7ZFhUatwAbASNIYz2UKAR+ySXYpLbrLbsvQEAekzCrIKf/JUUGnSdqjtipWBBkfXodq2gZEkPWlIMeISmjC89PWiHd5TZjn03kT8Y4uMv/eSoA/nkw2Qf/W1P+yxp/mJqmgVzOz6wNhFodRZrj/b8pFDzZS5CZBh2/lho5UGQWfvY8jlWxtcGOjbi2NOkLzv8f07qj04JsmTL74cQOkrFsSyNEwKfldaEy5HY9bgMc25nwGzeQfY1m7jkyVK2TdW26W3n6lFzbk32u3XzixOUuBa/zcT3kp8hJ0M2XueqIsIBCegr/sv/VCu/6FV6G9XjBJZpmqzD+OYWCcJ8AxsHAxJvcv/pAwW1SmmBLFAfqdFbC9hXD+UsKOZoh+qhEAAu85STJfp3W+YU5WJXPwNoDJv6wGMfFhDJ1QceQWtq7zsL30xNzharjWbRYhxz/QY9AcxurCeJfynO22mLcGOUmDWr593EIHJhy4ZRBY40mJKmR0B2G66rw5flOkRET4YewbajSolUMzmvG0FZw3lQ6rUf7AxUny5vAprgqvG1mYuLYGvUB8Y87zrVfML+7PJ8N1XyJe+j1qdW9Gg7ags3yMtvYqNMTmns2119l73q53fFvQkvef/YXM792T28ui0GXJTVOFqKj8JYaXfuhJrHiDp//35Mb5BKrgCiRXKFu+hzVoaf2WatP09z4EYisjLmSy7y5DTkP/XpeR8KyWOIJ0ZXP0MLt6CssrujdbhdtWRveQs1x8NVJQ5/KjlisIeoo9kh8+WcD5JdPwMo7ZN1feYY8/iHmGsWN+QEl7/DQKJKSAMl37wW5wjwUIGEJADeZ7coWMUDKlyHFJgPopntQl4kPjhAnNo+DCPyaTRI7YtVVF+mxfY3Nho8jEWDK0Dy/R1fdVMQ+eWiDkKIlZ0ugxR/wHnS8P90lftrQK2JXb+y4Y4t20Gz2yJ1Mctk6JizVgmKhCVHu/UU19JgQsQ5QfYZn8k6Bq62DkYZjsMLBCddiQq0qbz0btws4MTVW6avjVydMacAxXTfk64bQjni4MeBUbNCQDG8DIe3ydQ2mllks5kHJk+E43ntNTKQQ66okZWS8c5qboMRuqEFpgAuuMoryWmBjp/JRhsH+MevdbkMBnnxjMVWjbJnOaUyb+tTPEvr1YrRkSHqNrR81bmN/xJBPqs1Y3qIivMgp07VrzVwoMiMLRjjwD/aEdVkhYHFQn8qDM9yXc7pb29BS8W9TeWldnNIgFNtKlyxYWZW6AJB1REz6oGXPUmNZJ34g6V79/FyzgdFz1bwXScQhnz9uwmddbzDWBPPK0JVrAgHMeeUxlFoD8uGiqCxDRbPkSbRKsCLEcvqYZRDXlWsKKLcUrfGyFqAE6VZGoC5y7xa9A8xIuQy4J1TI0v5Ee7O1kPt7wYMuOESSPB8s4JwuVjInoObq9AN62aMb1k9p2h8kjU5K2o0futm2tIcSnUImHv3n8Z6NZFKWWURcmKP5IQijv0kkslC5NDaeLnyWaQrF9jdD2g6uk8fjz8f/ZkHkWhDsPyTsMfd3Fi1McufeucI3KkeCCR3sTIMgXfmws/xOudfZfzosAuYavCRqsbliuLQCCDhjCVyJfq3hDvJctKCydniUt37/XngDRqdddriD8Wln27ycSXdtQWW6Cm8bq9yRK3f5yQTVOBywpN4DatxLbUVKdQ+TrRxDrqMpAfRRMhugl6lO78ya84DQ82l4uBzJAJJshfD4qcxdbMYpijQMDoPME16dvBXdrIXDMew87G5eO2xWRvZJgT/FuCtXZE48o0WFEVotiIHJdhz6YwWBLKSa6Mz/re28OKdMijFB4XL3duXrwveyr362KiS+UO4FKE3z3+RG9I0CK+eGrf/xsSekNxLCPPIheZTcwl0TpO9b8GJb0SFsnAbLLnL48cLGSzxAbotoMSVDUhaoLIjQsa5kJ47AeMh/JzuDufAJF+oC3hwIt1XtbVa+nV1JqDtphJ3kkab4OwzhRw6OaESSK8SVoNsSyAv4SOxUBz5jHX9lQfrGMa2FHklr8qa/LBVTPxQ4XtrXmdR+VoM5wtUlc8fJtrw2hy8KtxIuJnfr8G7Kmv9itsYtxIFZuAp5ebX56lpMoUa2cxUNhdmZYV/hcPpQe4Y9jVPcbtPH74SnIUn12V9ULxi8udUqFo3XvZgRQYdH8ip1GTzrALgN84ePfjbRbJ8ZPPDLbtJ/0lexO2CFVOQNmwpvBsBce5cJUD/1CEKePhw1iM8tymGmPX9CjjpLoloDh+WMQOzkBmzpnIhQBiNqvq5eYLGdrKOqBzO4hloqBJfmn18zYzNxV9Djf0zWN1e21JUdko1BNBEhhW53yLzt5h83xFFfZgNzeJWq8vZ3LLhOvK91Q5tRkm1xIu60xxMupCusYw1aa8J3cCRUnsf7hC4bNap3DFDJef28898tQwgXX4Sz8iXq1W8rB637cu2w1mqN6mbOSu98lnekBk8jqKWcA1Y9KDgB6yFqCm0gEUshdKNXZmTBPvUSsccOSnAMp0Eyw9afHTmYyDH3sUnRK+guFP9KwZcqSMwCoy51aOx0cEAyFOnWklAuvI6K1RFBdIvleFz4DsacK4EBXdTyHQwmppbCWMBznK9zhqIA/YXo06kjESok4KPj7w84F1kAUCsZAzAT6vwXGc/zlvwKgejLWQSl+KDWk7UgHPBUpMULAzIN77sFV1MMZdMb3td3GqLSjYGWuXfB1TPI7YfEuyzZsP/9URNY0naZgW8NwURc+QoUgJcW6JtUtf/ZUmVWrIw5mGsskcEsgP0N2oGvl/wFwzzC3Fy+6o0wjsdvtOpANKnlAd41Wqwq3hWR4UeABAmcBU7buRD6FrQI2LjrVL66VBnjCld/s17k1tgoZdvVPM3WWs7s0G3Qv5+ViGd+zpJoGPR7znNStxPRag4T/6ApsgTsdGNcEJc+uBGrZwzHAAnzZXQJ9SNU1AtTQxrIMEFh+C/LYNrW6th9kbw8hb/TeQZvMnhvtT+zWD6ac5fy6Ps13vWSY4hqG/V/7Y+U+j7XkQ/5CuqKeV/gZ96FtWF5vV0FV2muQlNXFLLxfLupQECO/iel8Y5PwHW3/Bm/u4qf1KUla3+CkXjt7erhPEu8JHW/Ins4prY4P+BUE0UV43wXDDrUNGs7YZQhLZEXz86k8A9EwHbbNu9AUEMd7gkIPZOVZu4BusbP4UkpWtH4MnSfEYCJVtCG8h6iPC8GkCU3t7g0+AIu1dZe+5rgvrU0b6/0LYLTvuxZ/qBF2JIHkUQaBfpiqyhpcIiyMe4sTkJ0pqRSwgGc6CIO7I7d9umy020IPC1oWPTDES0+hPpcm2DyCqaObW9zz8iHa0Nf6mwB5XfOK3XsHahbQOquFOgnFsxnqJ5UUno6HDe0Z2rOqI7NYG99qPsQZbwy5o2eHHM6ZDbmKy+6WEbhZW26wIvMv97qP0DNRgN0mLwDV8AZyUe+eNayQaM9p3+00UUiBN/hE86O+3fasfo6WecA4ODycTfjARp8dnhQuIHGaRX4Gw/J9spnmEYLWHxcq1VNaRhHI/Ti0gWCLZtV1a51ztj4TdyHa4AJPEQVeR3EVzC1v5LdZP92OjM2BOVfDx8Sbl6usRo63HZ1XMA4YRA1V0m2qDGByQK7w/H7ttbYG1P9zRjTvJhc7ceBaEJA3zCUUmkyw1k7Ec+M+4v7uB+/NNV6QqsFiTsy96qr+yQLd5M9SyXheqpFVUu8j4ipaEF/8knQOF4nGeLycudXDvn2j9a9OKqPuOGThu0TB2n47T7QRUTTLV4czn4W9cx8ekawD3dvlbpiBYZiRhU9Qb464QVLlEW2o20OiakljgQPp3/UaLhLjHhGkx+i97/1X9egS2C5sBMpkRN4FvtZ3Px3ot409mT9V4RK6JGEqtUEhjuorarNQ+UCghqVO420FLR8r+ZXq3FEaBgV7bJVTqfslnQfle28yKmGD/E4LCrZyNJHCufi3E9YHRJZBHXQgHO997t9ncQq3b4qsp5+IE+8oqV0LcQ8OXHGBkS3/OiRoIjCsexPzfcWt1qfA50+gWN0qDZy86I19oh+FK0rnBY20guGKXzxCuk+R7JGkds0YeORmxuoEp2NjgnMYrSmpJIaZ0Rl3t3HNImvVr4hI8Nn/SAYox+R24803ud9N+rbzxSWBOnSaKH/kYIhzrzFb6cMFzPeZecNI90KvN+zq7RaJsjfx1TYjV8MxUQGXUjr1uFHc+OTZnOsoqO3oPPU+WjM20H5qNnNBe6OvFuZyjT8FDH9GnvYzQvkBjHZHfayQmxlYnrP+he9kO5hmB4rgRoyKDupmPhzM2H9zaGMSvWgJdNW6dOT3SNWrsh2QFSP4zNgdrfpdWuM+1CzwKVhs1+moYpdprmzSdwlJuWzybimkvMVaoVbkDQ4OgLiskCPHZiWPAXhcWnYxLVTYSHNI3lc00ZR1owKq/xERbk6ZDlutBzF3VejXh7lMbOghI5Vlktfh+ccbSro7Pcf8v4n6SV3W1bA5c0NiuAjv1Z6lVHJojw0vYa4nDVntTF4nMQXALDRt4Mkn4ve85rFOvRdTr6CRUonP+mMbM21ylVM4NTVpZAilpP8YAznjvlyEoTfVFPnKX8U4wDwoCW5Pdkdkruiuq8aIarhcsSLpvzi8xxRTdCDQrGK6r4K3XBmHnGAtjAOoZgFGPlmn7SKU3PzUmjRQ63qg6MtRCUw+6nFtBxaYEKcaFriQK/KOJI4mac8gXJGaL5fUU901HDNe4S2CbUmcnwezheim3VOES7903nlB8U7ns3NVj7/Y2GtBjYvXzllK/i/wMYxDlD+awEN+PTDepVw4FlNNBF5C0Pp9c/UT/sEe8hzzMJ4rQbB3Rf3AJ75WPZ1xFRgjXe+8X0DXYncZVOgG8ATZ7p22UVE6ft4U0Ah0bHGmL7ISFIlRZjH9dti7ZvntoxZ96+BHww70VtbtOBhy0HNaZMlwm3maJPAvg+ZNGb8FTMpXubTnNq29f4bm5VBr6wAqBxYQCw323mjb3uB4HbwadpuPSw8meMahJB9Kckvbs7XvU5q5fZaGBKYSeU5Nju5fGRuZQnQJbXDmWwT9sCjvxSnEjPjUYPI2RZuc5XdfQcwGz2D2PCuEpwuH9/qXfomue2u/8800GPG/ERjHCu7rdUmHMeChmvpbLzvfk+kbdGQVmWeMvuPg4fnvIq7dwqZWbgiICSe77tdPPnOLD3Eo/Y0xJlDr0c8WcGzAmeI8ZjnkCqltymlOYeo314L9u+EwfNvxWDwMD8innog7bhlbD2iG4UKbqgtIacU/TLp8Jn+caAUgBchub/CCrYMUn0dbaUHXz9g//Bjk3WQDVLLaHlYjg+ut3yLXoz327qFARc+vYzZr2Lr0F75Sze6w/3hxC//IDN9a+7Z/qMFqbx344j/u/gU3jU72/pn1+H17THwrjkYEKZtsc6cH8pjql+QyEZR1bxuOt2GNAMNIdZFv0/4eLB5liXaAxSoWa92qRBGFmkIV7BatM4nbQzW4aj/T7Tsm+Ed2EBj8adStz9P3zRYJNS88JmVdDnfL8qMamk/cvnuWMAZJFEyJLcA4e6lecytM2qKBTIgZqEE3lo0n796TzZ59EUC+e7lhQJwcz822Mpl4y3HLrD8h5HIC1H4MKv7wZJyK09WvT4nSy2dlPSsJXWpHN1s5XUnw2nE3TFl+CMyiPAAY8FdtUGDTsR87I373sjIVP7WANJwpoQRlMyEIFxlQZyVe2RpVMXIqq0LO4D0VnSm8RGAs37/9NT2vRyX/Ucp9N2p8GnDQ3U1LgRyjBXhFfFezmC1ZYZsRhI8yXE3TVVCu0HuBj2WKyhFSb+ZvnQxBLpxG4keDwMr7yQz5yC9tzRMRCbfhOhBhAvCP2TYTMs+d9dH659G5dUoRG8mC8tSr5h5/VTrPmAqTN++gCHELJhoCUmkb0qJuWUgXf91dIkDrc1z/+aD3oiKLRFEQvTGsFk/FwoEjXaWPSQR7y1PJ0roJ7nFjXCEhzwH01VyHGCPGVM5Q2Uta5NctU5JmeQpNHbJFFEaPbzm7shEWFNiFzxulcKFPhiliaXYAO0pjfQsblgMDISHCBjRJ4ETJg4Kvq+GRCkCfyUOIwcLSX7Dk8AnTW5IFac7bt3JHVZ5zjXNuldGEIQxfiWrJW2D04uRCSA7RKMylCPO3WWYf/QjJFgRvpHuGRgLUUeRqpbbm/czrOroL5Q0r7Fhb7XPWNObvxH6iluGN3ATaROZHQ2GwHUhrb+OkiAKebfr4s7rtE55uiaDIhAGLadan3NUx6A1ccIbdLp18B+fSeQYinf04VDzpOO75DzrqlVmWvIy6mjZk0wSlOrEmrZtq6yrYCxcJtTxo4VME/C0aSJogQb5blcsqFhwpZitrdfQg1JK2C155gbeYa80o4QMLTmHBnjYQZgEeEZAEKpwIgBpoE65ut18zDdCvxpr5ugvflG9LdZJ3GR+YEOxF8VUYt/BU3IOWZOYqaVv6e3yFHpwbPAiTuwoxXUwaZT6hEPPRM1SJtN+faKDGZwLyW8ABLVqO0F83OAgg+b/HUCrUYjnp+rzN3CjCMdwtDkoOY1+6p9bu31BBt6sneUYBnWdQ+bssHRZZFcFO/ULL0Kb/HgK3xdRnPU2qfr+REcvMsmDdwW54DdWpj2wddJaK0B4uGldMTS3RJvanL4FxMDwxgK8BQMEF88URcuQah4D00UDuD9GFRPXvHZSP0X6MmxLagAlmniEDjIVw/9U9x5dW7OsrVUcVC1flC46TbXxL5bWN+o122eyhBZ+ooPmHN3V6TGTx26kIBidZ2lZcHhjyr6laL6qari+nQcmNYkwBx6+6IFoOV3omAkEe0xLt93aeIXUOFr9zsWkACr82zqhSFNYXwRkEquiuBzzg0jbaT5FjZTan5QoSRdqTgPJOXWpF3sOSrkxuo5DOtsTOj8mqkGbElS+f3ObJd/K85eWVra06YdU6ZRPhvv7USuNal1XhedQEf7XUu/PcMMGO8HRWfP0rIHxsHgKhqtbm+5SIgdOv1OSSMdBQZZNqFotCeyGbtZlVoUp+KJg3jI4CuZPegASm6+WYPzh+Hc3U9XubU61x6Dq3dpn6e5KqhPm0QvvD7gtzrOYy2uHceNXKVDkJpEWHkW5xr1CyBzAdBqBUokk0NxC0NM3d0lAwoCPJsjIPvxGuLkRZT2y4ewJSqWuECbhLKbFdfQWsEjPqBN4B0uwM8g+6sGkiDS5dOd8k0oGngwAEol1BVsgL3fL0OAMEVWm2KvVlInZLBU5eWoWKzXOwz49hVQXpXBalgVQDNY5Kz8M0Ixs3dDIYQ5IrOfjeQOshFF16qtmtLvhG3UekyURB3XESd74xdBGXy96HjPVb4lK55eZgggGmEMckfDQYizix6uEQ65xyDHtoonlrCM5zOA0AitQYDc4PI+Fp8FpYE1HcbzFzpxodIl75r48eDVcZ20vAiHRm6u6nMZctE2cvq1jfzgIVXL/jGtssvniOqgo66j4aL0iboSF5QTbpHZcfu0Ib3POJbwIve2iUTk1nN44dyvUHlZJdKNAcWzrQHF0Eqv/LwLXAeR2bzArdlH92QYWhRPxcEZPMXmtzIRbZUbVUVJjjvbDiIl6dqwNh0KeP6ca0fA7amCa/B7Sk+d6GXGMa0uM1KzqY9Rct2RP85sansvHV4Li925g5v/giEipXmdc4+1ASPzpYv8sPStqVAny3lKh/KBMDwsPX6OdaV4LuV+HJrP83UuXFhP+C3aSs7W/eCuObI5pwx/lPOrZec/W1LgdNOD3y5j/4rtp47gVp0bCcD8aaPRoM6GzyV/lkeEmBQcgtkxK8ypjaURmUyJJxbfA8AsNnJcAfTdtKusHjJVQZGvwbVmHqthXI9mjgOXHmYYg0U7cu185xoSDlgYhWoCf1Fd7yGymZ+ouMtRJE4SQLbaoBctcc5P1Ruci3oNNfBGfrem2ZuiDXRenYxijUb8SVaOcgLa1prUJk10PRRT42E3jAfN//ImWFj6x6VIRe7e1BcJSHXbMJYtC8is+lydoKgaMm+DpAo05FkNr8B0pJ96NfeSZCOasB41dnA5QszXpXyltQXKJYCQcTVm4G/3a3fBx2UqF83OqNr7YUCMQTmnF7ptcGibppetp6wD/phT/G+9zuKl9V96C/a9+PbWhte5JbxXSRFUk80AzyEsl5z8dAErs8QTlDPsgel1a7Cj/6qiakAqi3BSUd6HPlV3kIt2QKnZXFKIfitKa/e9AFL8o5MBwcuVpKnElKfwNBCxmBAMvrX6K4+qTwBYhePpZF3wZ8A0waJ8Gz7LGryWF3l/KtUDvlmJYVlDgbnMZjMl4kn1EuYIFRc72sQKESvj2U8D82SrQHtCjGMa5nwxCrAYem5YTUyUTjvUllpsuUMGWx6QGacdLgUhWNWu30tyktbc9kz2535Lrf6+EAV4OJmIrxBCplid0422n7IqLdPXG/huSgfRjOGyr3eCJQZzhFUWL9oHi1x9QQL6/3iBT0N9kD/h6zWdp8x72HqUyoJVYN+gcF/zMCYOnIalsRXs0zvjGorr4XjljT+vsT5uWdG56oitwh+umOmPaF5s1b97z0PYbesIvcmc5HSDpGyOO94CVZxqwKu2tf0Sqol5PWCYyosgOM9netXHAmYeEmpfaJAt4PazZbNMdslK9R8lzMtB/VrRvzMCMjS7KuKnY1lbszm3mCyffmQ+FTwwt8Q95EodiIJJUQSL1qHlyD8v070tKBoddpIBOQhtkUfl2KoUnWnlAqHRCpMQeNiUWn+HEaDKPQV+Q6e2zg3Mj+BU7el5d4VzpEkVle+U0zfiR4sANb7DVIghY1psJg0JKeJOq7OdSAsu2QKBOw6X8eDflNegQ/NThqJvLYr4+AnZTm687E3cj9w9L7YwA0IMPMseUPKaoiw528OtDG/Ph7K2XULJ2mwWu0/mPkwNdFGaozjVZ1VKM5UphM4LoF0Y+XCPVDsc5DyDbKFEZLv/bADLshO6hugwsSFry+4JtTltv2LVF4CsbeNjwhqzGdZAgqpl24RipMbk0eqHH9PeFhlpDBID3hDvrBkClF/m9eCJ7wN/PJdAu+gT9SAnM+2BIY2/DQesj8zE4u//EdnLJoyXC/m/qPR5Nz78pmUKD2qi4++OQy5O9348NleE1M1KjCc1AYSAfatLGPMM/g4R5VteibJ4OWl6vYF4wuHqMw2PnOcQezRrWExBe5oQxQ9YHzopVazGzleAZom2OQ3Q7ngP0bz7+miPSlDAOmV61PqzysIM+MyA84Naup9J/LSNBV3tA/Pur3A4BKsPCl0E4ZK/CcgJdx4xzNoY0mjKgqIUCTmyiPQVPf+RQvGJCifpBIZjwKjWq0Nh1l2v0Ul4gxLFNVdWc3UgwezMcvAiH/NO/mPPPj/+p6kcRMYOb46j+6EjZy8J42Z0zeG0F5J1GBkK+8Hdwnd66Yf2soU3X4MQMNnTV/NBhnHID0zNcgDEFITS0apI0xVx7IPJPOOlj1a07jFchDrJMMy4jW372A0dXfNuCojDJSg29F0PKiVCDKQAcs5JQhk9NYPqZccvxJId0f3+aXwnmUe4ChCfiiSUoN1x8SIXxLTPtuPpx7V8oUcOgBLpv+z7PmQkUxc9I7sLtJ0M9pYzz0+C7dEkTfZWM+8hM1phewBWBO+568YNGECQilBV0ls6qz7UpGRbC2A0S646BZ5K2lcT+La6pr8g0dzPygKJFdSjuE0uegATKAwqAjv358zvno0i3gTSQ15HCpNznyEY1TFlmBS6OaDsQS1cAHOcB6GrGejgCrvv5vdSSXIve0rSghswoLHBOepjr8YdREoHeI7XqQEbf/Csswug9JjaUOG4N8KDgWSNNd0eOC3Xv6oPc1IHxYGlp59XtQRuOG4ny3xVYZoA7oE5zdLI7QHMTu/ArBxeOgbOPt7fTmNqAaY+X4HD8P2PYrpQWNG/nonsMAXyeStQrV4HpIsazHWTdF61DAEBicLcFYdJGtaDwiotONRGNuZ55Sr4UKPMzkxUlxz6VhQc0BC1GYfPGhoUO9jD7DU4gPu13gBperrOmfPozVwFBMrQSVNzMQJv83tO1uym7Om0UP1XN5v9ghzzx0FcFpXP7g4h105egtczmeENRlYlNsTgocG2jWEE6wMkJL2sRBF0tLbFy6LMqBBeWIUyyrYWIMlEYcRpcI/JrTsFIva1Kdk3/clMrzqaEx42oRcVw18nzL46Kxo+i0fob2JmNj2pB+P0IM9P0nefIviBocm3wQD8R8rNfrBo8eODu7vJnsLRh/3xa07YgpNQsHeQtkcpbjgKKdsUT9iUd+X9ngo7MYMZj+IB47DXu6IODgb75Q3B9cHXHeDP5p2QO5f8AyM014pqSEUgUExqMTNE+CGY8EEXXx+i0bV1Xh5H3Nz+tdW/6RcajYsqCLod1pZzzY3gGVzBeZIsy+hIKTnhDbtMVrHwas8QkIlj2alKunQCqodTXNJQqv0XsID7CTBIeHouBhnrTfaSOGz+goTeBdWalHUNO/bWWphjqw1DgtfRmsYMGLdY2lt/EXzyVlUkWhUgOWodhMQDrtdmwCAUfNlo6xl9dXzGBZzFcUJXIe7sNcVn7MhsrEY9uVbviYo64hSBI38iwkCbJG81Gb/t3DV84kEwSopBa8wf4xySXubCIh31BC1rcXFixMSUfjMkv1EIPH8qx1MvRjo/VbWg/GB+adkcPLQfGfAcS5KCr9YgGzYJuSjN9mWv6q37+bx/fDdExQVRP19xRajWoTvdIeyy60wMMCrwgdIe3nX90Fc2e3rJTpc2kkboThlddZ4Tz6H7E/RhhCqDA/KCeI3au6QT47yM0gtr7oJYqGmRj+vP1euVhCQHkDwj21/J0BnWllxneJqgLNxpX+ySp8THnyLsASsys4Ip6QL8V7qKG8z//caEG1aEIZzTyk2nLJNGdFqhiElo9QI39sJYMRJD5MbKCtXWKCPCcUzw2l8RsSpWNrvBkCNJdBiLF6Na+FatarKXjRD/vR+5YhTzXTyfUdTfi2MXDztFnfjRb/E5ag2TeHM8aUcWXrK5/YJDr+C4e5rpHVYoJwVhaFs4d+NOJDIsiDgqTnDbFQ0O8q+Uead/tqlbVksDrhBDPtgUDZFD5LSAotPFMJ+Ufwemewr2VbwVXiwMdC1IQc5ZlIw7QnGpHDJUBvq2neIw+qx3YUZThK1kdLaS/uTfCzyXroTLzQMwm1EnxKO0mhWsc1kJ9YsqzSGWdTGJHii1DQqmiJ1PViw1av61BBYIfhbEzHiFETupxMXYuya5ui4/qvHsgJ6FKXXCPOdfgvx6EfIckeydKd81VyJArFZBlZ7MaJGFAKY1Ksj1Xt6ospmjg5h1edb2XuTjgWRsdDtLI+Mau/dWhAO5JQl2NjWymTF/nwjzeouyjnPt416SHf/ccxSzdD3JZAJqWrmqrWyYCvT8d34g8QKHgpnbijJFawbidkrT/zLHLlBXKFsAvvJ3o969QuaW5XYYkk8Iwg9G4x+eENHUq8/Lxv6A/NRfmYKDGlQbE2vVO6hpoFuOEHKVTYe4dovip3WwSCFPYSnB0QeyNrJJ7NWS0n5168ZihdeEbF0i9RazA4W3o55hn32STbUEj4/a/VyPpnq97wEPyi611NdP8FX9ojzCxkbT7bmFNGFrezc8wfqXyRFSqTkb7oLexnFK1Fxv++yRjpvs8m7U3UPXy+zmXyHQIu7gloMl5SP2Na1bh5cmZ2wq6z2oyF6JR2jmXVq4PjvMhId9goWYEeViOH6pqTyhhyyBWlkgTPUmNiRl/fg1Z+uLSmNOqeY5NruUw6KoRbHYCkmtWojiW7LgLSvRM/d3x9z92DaUUVT5sJjUZVpADzLiEE5Z0p/B2ggn6dfO4RwCRiZLFbnsNDNxrnnVIpHtFla0nCHDpYLcmcM9ibN2VFjuWzGZzZTu1ctNMwvhu1qTRMey5+DZ+Ia2bL/ErFZj7+ilFYi5QeGuB4JDWrrEAthUfYpzrbBZfVjTZgl4a87SjnIhs5+zIohDWIYCJLeLyOURNsG6eOQY7YN/IGwAYAIHszdPDtZZ5QoY9lydCiUVY1GksHYcFo7xwUGd9a0blL1UPPrVGpHPPlTztrG9qISMD4ZtcBB4kP+44lILcODhpaS5qKPgzLmRKkRZaaNiEnBI8EyPJ5qE+MNl1Dj3tkKL25g/RAwNbwtxc5zKL5rvz4DEl7KNNcfF5he7PCJ1fkhxoa2vCIuud5asWODwc+uazY8onV34jyM1PK7YdU56By8AYA/nrK3Z+FYko9lvsBbygE2ZqisJuvdN04wUEonsm9balo7pIcl3UmHQ5MXZnh33VFQVFqc7Pwku6ersoFzZW4U0X/uDx4ljSRHG/jcL/u38ItdJiHk4ZRUbYODOon1F4eyqGEY418RgWt4Mh04RarZmruz7hiUO737vrA67E7H8JQCcLo2/qzVrl2E8Ue7mCVAKnYP+6JjXHrkNOQ06W50i1R6w1ElKfn9S1lbx9Pk9dmdabV+J/xaNBJfcar41XlKGkfWGmd+4cgpTtuAUaVdMnXplfls8sz9wwSVfNACCIYi4XBaqaF14SaiezjJAO2/nQYGIseDu2iO0dCBMjoOh7ZvwH1edTrAploYYU1oudlI/rz4g7wpnujvNFYNw6o9XJbgprHQ7SsA6WeatAHR/9k+u6//lRSTcEjy96FVgsWJIi3T2V+FpaiCBTpHHNyXO5dLO1CIuK+lUqqATwQBpzXCYMHaACM6nER6md6zaRNgmS477Dgiehvl++iG/R9M1Y95DwXYlHHUhTKEl2lxhxnVhTqeUbRQaK1x8v14jjOKKL8q2oaOThZyOaQ0P448oiB1v4UqH82JwhPqj32SoJw52ALjGWGkMSaCoHOpu91dUdNxaGno/n9VvH3umBpYcOoh2KN3DmHKYpzWWxr6oYhNahFrdsmo4voP0kU/dlkHsOMVXc7tZcU66im5PbWT5FvtvTCUt4iTzIuX4AhdnLrRTpQWZkavcBr150+mKOfSqprpkXT9xidyQ6RdIxm9Q9l4SMs+Xr5OqoHwDyRuQlbkrUf7EYk6mJxSZMlzkX5uKGdvhC/1lt+Fp8EYksf8qbrKQb33detX6tPHXR1jTiY5DjU8kS8q6e1lCAY5h9kEU/6V32N9ekoUE4HBNGO7mj/5XI+SeooVqUbKiv88Yi9NYq1LX/kicIj0TkP5sP+ofn8qTQLa4NAAMd3w/aXJBJOMkFGBXUQMZLfIk3mZ9w2cngY4wMVahDdlDypzaQ0Q2JmK3L/asLWAX8yfX0lyDBQqjCxN9HKMglhgigAh4btA0bHJCXT29vAbVdwohv8RY5VyIZOF6gysif0uuvXes0sSQo6W+X2ECrOp3R9JoKOBHeH38DK7bNfotBGjRRQeknBDQgqHbqtxgozrGWqeattmEHcDlmn72ghxGH0tgykOSGBv6kx4seB7kabpxk+rajEYF6N6B8DD3EXyfPAZ4RSbPRlxxDiTaFyg17yAt3DqWVFmYZO0IqPyh8OIF7Jyt3hSaDYdW6xvADOOkZGnbYMrKaLN2ZU2Yaa/DyN4rxRE1d3bJlB0VTJPsvvYfT/qDkQQYcqZNtLmyIhXfp012ACF+xc6utswXd6LuBbNxTWOC9ynSL1mMF4bpenQXmyC4qI0yQSHcYLX/yoAJzoa6u1WgsEo3M/nSHbL9ANMgzHDV6nNJ+nq+aRLoVJYoKIGsq39Ovq/YPxWK9DAHb1gX9viVoXRtUbUllGRYy7O+NPxmrDAMH+L3roqoHFq21axswidOz6KnY0HJucnHV7KMQtSSMCVNjLLYCuf0H+JRYW+ZtJ/HMLn/1+AibiaB0WuDDU//KvticVht9fLUJ07vbTfbqRgGuve1gFg3EAmgmjTPzbIMl6Bviw4Yv8LAsSwxD7iKyjQ8SyF20rKy3AcK8xGL8V0sbp47vxzqGxJGyu3DGSsDLwAySivMcn+bgmuo8pXOG7m/OREsEYCQlUjFuNSCEv2o+u7WKadDTthGhRwwHsyHzbtFMbco12pjIA75mOCRxBQxx+FGAWwAgPSthnQUsqBj7Al6vJVfGTirWkSHd6+XxusXvwUNeC3l0z/Xzly2Gcy8aFQTZOTLJwDKQiob66JEHdwMjhKWru7ugdXg/w3YZMU4/QVSHITdg0+vf3nU1vz5VFSOOM+c68m0OjiEVtitWV+nUfgwBexIzA/TtR2OGTfs7GPjFO1wdlICZ3mkJS3WpGA1Rup8p/eoBNJh8yTsJ6HZX70Oaz9RXAbSUTY31SnjoBGCHNpEZXkEjIcsdiwh43eeUhv2jt/wW6SkBCnbgw6XLWfKM4GYGIyTYRXMUx4Dq43fl9DzjPjcQWXNSpVqhUBrolLHiF9gnfKBoPrEdHjPbQfTfoDebYcUuj9fsuInf/ME9yuiVrzheEDxPZKst/cLKo50s+hOvLWqk1mwKQt4Fb0uluQeqhjz+5aLcruIMLS1T9As8nLcr3w9+yEjsac06moTWTrl4bLoBr4rvVNKMZg6ezVZK6Ds92Y56XvzUxu0p2nyvTmIqAqrEwNTj/Umz8z8MKkykNYEJxSL50ihR3U//hxAr8wLMgNz7v5l0WXpk1wqIV4LnyjfpIit3hnt4l8M/ZPyGwq0O/X0OCLGYwuVHSFuK0Pvx1QRWD9rKqycnr8IMlhezmbvcFOqQbgqF3jVJDBfkK80FCtvJkuhsTMwYddf2rrglNmO56WeFBV0qjSvliVKVe8qfjt+YirNzwJGj86tOJPQK0lI/D4lIcsceGOBqllqLtjXVL92LppVtHD1k8K1bVRM8CRWqqH6EPZcNyaaAaOLDoXjB5LFCT4Ffv1wYlyWwY2hfQuXKK8wxa8a5OOVJ9lIq0YOezeGY+Oy0slZryGxvUaIaN7DUwKE5ESyXjrvn5jrjvjsoFme2QgHF5UjkzYWIHdg+KXmda00ntqJGRrY5/s0NKWrED5NTLmWYIdLrAdvmywBW4PsU0e1jCtGQ6LoDgtHKue8ommJ+pOQ6UcpLbxGyR0VVE2l60y6SnZyHFnTsFKkdrrk81+fwF7nHiYzzRwjYAWofWiU2xj/TvgCiuCGCdG4FHr8QI2PIJ2vOzgcxtwMq7yboG/Dp98zhs2/mOso3qzP1onyfQ1ztiscWEdizl3T+e305kK1FRgdRj2otvd8+UPygWb/nkyYtyRKHrHtEov/NwAbe0O2H09FQiwMGsAj+wmbMCClnX8yHGVwm1QsR8ALcfnwpPN91iDWjxIw5vl8P5my4J0Ing/ha6Hf7ffx47oh08e98iYCj48NhNb+FYKgRrioZid/IMPpWaiZZGPSfPbpeNepXAGBt1+8UHtLZ9KnDcpu290RihBHaCxrMDe9mYk3S1gWsH0ZD+/8icqOUpCSjQFAa5wX0V/2tYU/t82XAhb/+nabrHnk1ATxJGm/UpxE3njIYHN3n0n4rHbNzH5X/ttiPEG1CMwLU4eN2BzFXrHPSAJ4Z43jBwoAgXdBJu/BZxk6gOJPJWWfgUezG2sTuNC3Bxd+NjP8r6SHabHq1C+NcRtHQp3tkYdmJj/WmclluUgP1+IADau6DZWxJIUcAMGnOvrADaauQxEEOIl46a3ZR+2dl5a5zbK/E4vlFf4alO4VbKDkwWx3Dvdyv12i5J/YJ/hUlVjndCV50xHoooY5dd1alBeOJhuFROArNbIzdaKjx5p418abtnm3bCH/hVYt7Oel4q3mJVTMqXl5q95GqBXlUgCcy19CcaldnD5bNvn/kbBLvkQ4dErKTvRSzQGPlCRgy6XSJlErwgvXM2i3QRNZgDqpo0zg1wv62OD1eJJfoK4NabOKuAvRvde9KhwVqvLm/pnfx4LuN+Q7++5yntzkLhbLVgJUaf+FFGnwunn2jvIDlIGmVxR/iirna7biO4iQ1J+5J5y5puK7c7i+kAjLZ7f7UoubJceXhZMjIZQ8uFeXi2Aq/pRUyjsv9/4ezHVzyAW0w2Pr37C0l+VQxVo4rryaaCFSeZguHYoWeRAyeTB2yzZdfObCa/i2RyM7qu1YW69xRLlTkzdBdilrZ/ZXU3EPtxFDvF2WHK8J9HY9R7d2NIUZO/87l5B6Rb/Yi2kMZnl0V4yXsBxt66hLxaiTGY6SugqvUddWRyy7GpMSbYvVBcLaLNyduXook4b/Kx5qKrCwY/vTmxHb2Bz/AsMEbcKfSwH7sQ5ssZxTHQz8xPZ5RwvKYZn9HG3vWOvcJqD2n+bzM9Z6R7R3DV2cUNywFu8yyk3L3FVxoRqmLJnTDTqcxptRb5P7QOoAEenHFYm4SANRREObTdiBgQjm9XXoDH6JwqDw56yW1aZis+Rg3XOtEyrHHG7HGBktZ/4TbnKqWUc/3T5tele9+Oo5WMcE+hgS2DonvakOrQVpjbA73URLIPGBuNTfYB13aNQawe38sY7SfwIc34SMKY/33GQA2AbsRsVjscQ0Pc1Gf+89K99piyUnwrwfD55d5d11y11xtweowbAO6ViTaLwqkBZFVjafAbpfwEGkjRE2XQhKqUo3dpAEnCIWziVpacBFgAGk5/UiSTVOhScifAsrICoHfSgLCoW+S+vSPgRV3Le9AxuwBsw5ZMnUjs7pTq8uxD1+LepwEQoo/gLgebXQdvQ7N3Fo1A3NXeby9sViHo6DFxIdCreCpkzkB4LKEjYFGHSas9QbEsvjA3k9G+pJIitFzAf6gu9vW3oUeXQJ4IZpynKLoCYtsDkLJiBRTIGy/rEJkHviFnSWHeqqx6bwiSoV8+3oxJrJhdJrXk3t5rk5w9dQUJObiVaJtHY1sK6JVRI/Ky0GNUBYv7ZYtsfoLA6hZfRyeGye1qap8EDG1VcNj0CLXJax/lYHYEftBZ+hyS9cTIimyHUt/5cSq2onXkts6tc1kFHrAXzjsPxeygNuNs7KZSg0gOWuTqiOeKuVh5Bov4vcq+nqYfc2K/JjMnaMa9ly9346qMrNsXkJO/EUDszpaiHyMQykrSSZFNFAEsJJE0du500jy+S55riwsosev5gy/WFHkfqVEidUi/QA7mTYPZ7fn2w8yXSl27jxLXFGPZLGXt1mlX/biJbATT3/JWzDE+IhIBq+68mf9ZeAaP3Vh1xFl0gy83E0cQiTPIlSmx2SeOOAjqSE+6xCythQxtV6CmuvTGA2/hPxxZ0WAzvWv56a9mxUp0E4J92vfg6hhx8PRamgfsZtxRJhi16I3jcZNbTsmq7Jg3Qu9qKYSdBFNPxZX9qci8MlzDLed9oJL8bFjJZp5K2J1o0z4sOkRT01oKQ2cnq0VMm7VoZCPgIMAMPfDEWJkFQFjpc1rFFJllTm03SIGfTQPSAZ6BKfYLnGFsGpiUQcu6dsE0ga1fBtjdOaInZRuOP2gYH3snlsaWhiIq7Kx+ZTHi8CrWy2qTaOFoz+8RqNK8WKqCFvqqBixUz0N5UmZPtzV/97Me7O7RU+IG6LWSf/V6hDkVtLwOn8LnfeOgQUX7tXIF74emJXbBkgzZgBqntdseVZ/a+RP3NHzUnQCP26wf0phWDi60xyEl4RlDkJNFZJGprwhr2aWKs6mVMo3I4mgw4Ut1SqD42bbJabvExyNcBzUznTGuMOtnFrB0YgKUSFNxR2xQsuw8NutllMD1KtYmCZ7sLUvZoqE1KoPF7QvcQ7JFKbum7NdN4zQ2i1mo1cUAVMIE1P+Ft5S8K2i1gIgo8aC+usIOp8UAKw8VOmsz9N+vb5qy6wFnKUmN1zy9RrhG80CE1PpZZRYiptkNf/1Erir2bh6gCnrNGBdTLu4QV36a3ES4JBpYdPuLm5W0Dhoewt/GVAIL898LzdXkzM9RANhbHyCwaA4Jw+81IHuzuXNrzPg56/nBwDypvJMKjcXa78NxecETWxwOxfEHVZa74E3N78hRgJsAWXYjyXNWVfkTneKDLW012/Tfi1MOg9YG/nLGiTL6UifnIe+q020biA9XOcw6NcV6o3XUaEmQLgRHiqlZjSKDVrOZ89EfapwNNQdH5hYBwcpFYv0NI4CKpS0eWVRHReUByJFbdWg+n6GTeL+P/2UYSYtUfXYlOHwIc96zycaRpMrnIQ62qwcpvvSUgFXsuLP4FeqLeaZ1gfRD3u0yybxA0dkWsM2G4bU0+aOExuJQUzSLn/Llqo6u3UQFdA7ZjCoD3lZYo0ud/d/H2AtGx5WaVvFYNEffkJ5vQVCF+koBBWN+8UnlT0+OECISj/Jy0nMOwUICm98UAFhzcLPimeaANxnVZUzkEIUim3zKj81pmKV/tSXdQliPGFN+0DAZjStSwV+Pvi5MxOKhaxaGsA7ZXrMRdNDhzgPfCusa/eVb7CHBPVPRm16bPlhy+GiXJhpNrv64pXHSrPG+FG+r08NaHRTXf3rfSpnKGIi6UGZaeuMqi+G9SVo+zPLCZs/LdCgDtmUZBS8L5kzzMjuIYv+FL5xCRXm5Nr4ERQQwJoMY10SCr18tF0gxWhd8QM73rvWsjCOvC5FXb+T7vqJyWDlVOpWENDddmFVjDzJnTn7WhnnnOA5ddzxltJqp/X1BmuzlCyVEH+fo6F+E+qsJyHNYhB65OaOR424P1Wac1Rasi/vsct1dfqOsaMXwSxnqJAcJikpNbd7aNRc9cfHqS5udiojGXeKaw6uUKPmPcWufFeEfIFLdmY40RLfC+McmYvGtbxVkCHdktSVPGuiE9SfsJ97V4JRft2nYUgqGADzBcmXjkvQHzC1fPWJTnb1Gn+DpiaTHc38ZxYbbUto6plxN9yI75BPkQFV22q4r7BqqRAll++6LM8d86/WITPUd6+zc3yHvL88sDtWoPXzy9c2NGpEAHsUiMv4Wht5CKtsfNWmRmcTNoTpnsbnmz4r9MeDZi0yrWXJh7U3JpWSGLx+d5d6CBo6oftIvl0mNf6+ev773XNXlJyllZos/UjzGhibvzpcau2ozPPHnotZAwvaXdMg0PlSeTh92x0tAzqL+lyoEIFn5dtyeYM/U92FqEqkeR5fqdm5Ga2QXKIF5ESkj0U1kKNectQF8w8N/P/sjWuFg+mF3Zhm+jtkqKKbNbj9nygHOP7l0kBEXzp/hRFPQyqWWEcdaaSkYxfegceOZNXiGIm6qR9Tjjoz6e4SG21iC6aFEolGvJPpYunb8lz/lDonhjvyiFYDx1zcd0/A7xUfO0wd5jNefkCSk7w8PdsDfUj97lmiWlv+NQAjlAXIVPdZ0QW05mLwk6IN2F5DUsYg9Y/IYUhUauU1wyr8jx0lieMOV2KIw6vYwxw+BKXxCm83bQCQ3jonVWzsDLgpBXNe8PksEEngARVEHm/+yKvfcr8QOCzk1jJMAH/UmPfnbbsXSIO6cNlQ3buNFqB9hKOtWveckp/6aGnSK98Nj/tyM8oqeUnNAdO2MpKGWvGNY/2JpiqWn20tCHvB/deXfXhLQ9LwrczLcq8MDUKvYgcQquFxYHcfL2Ibawn83CSiRqE5TxoMDqKrOrMvia8V0arqCATyMlucHTqxzAjCiSWKozyVsOJO/upy/zl/k7I1UqsSvr3dQCHW3oyvF6RfmBxv+Ww+2OyUNM8jSCm1SOS1ZlGQZptjUWb939SPeXsboo1lLs1tWMwKQgrNvKzTE6XjX5DRXLSXi9DFcMsD+oiBsUFWPvytDTZjH3s3hMBPR9laqjybGaUGPorY0hYS0U6euhmEa/CW3+hOojeH4ahVlIzUNtw5LUcTpsgS/A3aMzLGMIMtjv7gqcOjgnM/yhKCAIrsa069nEWLfhQEmhh9/LYM1kr6cHgWmH8oqZMjik8NLT9vvcdqOB2XY4zhgT1zb27vWvqYY0ofRaIgj+7VYPLNmMdL5npqV8GTC9JxqyIUxrz+teogDpPmkCV4HWgSFyK7Ghta0pBEopCmn0RBtu8NXrOsweJrJcfNreDYW5ROhj7UM7wjo2viueAttJG8dSSwsRhIRvWv3FVj/yfWTgbAHSycQUDKDLUvjZ+l4mkJi0t0kO+AN59bJf4Lx/hKEt8nA4Dp7uaataaWQSEYg3zhtiLtQC9xo1s7UHe5/x0+SgLBQv8u6zciWIIVekQd9yZIr15tYz/0trM7CnI6mKwYENauKmLi1icEf8NiJ8TksDnpJvtmKR/DQAGxUfni7Ti9O2AEy8/17UlVQcbIp3rmT+isceN1ebBM4f1sra3nByYM9iccQKtY+DdBs9lGps0Ie7sWCUvTF2rkGnQnAy9Zz0LY7UtIXh/VJL5I+7qw40BwQ+HS+svtP2JvY4wOLOD290756z3QcqJhfi48WFzHt5V3pM6d6OG8gTYFThkO91QhcU2OBU7Ug50B/jxDaMU0qAkeQTN5PrBT6alcZ7tAzoD6EqriVxxf0sWl4RCy0uVP5WHtE5Pf/UJDdLAIpicVExPTCdi7ZFTrzCkPs89tcNe2kUnmFW7dk9d7ab18iEFqCveAdfBY9j0kKXxi4G+QUzxhlqTiVQyTEWmy2CnGhiOWJ/DgixmSUZu/U9ot+XcWqIAB9Ts5Nf/x1+0Jl8vztSzkOjewgqHDWfbPsR47Qq5eqElC84hQwFTgb2UJ7t0ZLKVCP/SUD7lpccfYmeHDNciHp0jZZ8QECAQGZERH9R0eEZZ2LXJpV/4XrydgP/HZUzeX4rQOuAPW1zhK8z7nKb/Ih72tGoxnqFg3vjheYW1AjlENDtv8UmUXVc78DAO/tQ0m4i2pCtIeB99Q/tX8izYWvJBmIQtPz2cFU+GyrV+VunVnzWxKXFPlZxb0ljF1g9Axf6FiiB8cT1qXAeUZGLxVGM31Ro8POjRTaZneqnKTVSJ8l9EW+mYGqqTvKQmYf3cOVaBlJNVwd0SWbP0H3HI3YA8oLB1ERAAUW4d67M8FwAGj5IW50F8k3d4J8Kmz+CPMDmohbYKTsN16haxYqR9Vf0TaVoKqP9LYCzL49qdDdzN4nkTeDbKmu+3Jh9qioezAtkL+rDiwnzac3QdLBY7SNx5hqCYWyBakC2oiXiMVGIrSYisO8fi/ACZFEmW2jXYyJaecrd5QtQq9+qEPJDgKGZYufRF2z8ICmO0/FgZnxEcoIEr3abSwaDrNPQ3Pqo4p0lt47U7+z4JpJbyKHmgZhpwSt8hvcuJ5S6DyQ6jxk0rLr8+FgDVvPWToB8hceUWwAZq9gKkF/ygGCBNY23Orl2TOayjGDHc19bUbvPNuQnGoOEPMptdrDGpMXul1CXNgqbF8vSqCVxGiSkVMTPOAL8OA3PkXlaubooN214v2ov4N+cwnFQYyEVGdhLaFhsuXAgd+a2Zoe/P7C7Lp8Cka6LAuahebVMVmGH8ge/RI6ByyjsrArrI7OTHtV7MdkE5IEa3+ONFFqmxmYVnW3XhrmOEJ6OrvkMAzWRdZ60Ro96c/+7Fkf5GxFxZB6QS2IzTpiud+2NUVaY22ndxOQFI2DRGHuJ7pO/pFhwIeR7LiDGeRw//H/UdR62yQ9EJO33wCzNuWW0pfmgf57mXFXFpwKha0ZyicVfrRHlSAvz/0tABFKuzFMFK1QvTzw8iP0HV+yeWNTtWLHz1Tw13nQCt2y0yT58xZCnxa7SzP7LMGZABe5kuFAco6vJno7SxtM8FuniplKRHo9XL6VF1GaTXWGOK9TlolKycjFwIDV6tQLYlGMm1TCv7dBzpbh6H6AbCWh3wk5bCRK7WdhcMhk/vy4NkYi1cyRlJZqczccOr5+PFnOVwKuFinKJkx/VIES7jv7OcMDMp4SVZ2yiVOZKC5MovALNkJIMNB2hWouoOVIsLKqH/BhYkzSYSwRAJIG8OgeTGPDeAyrvh+szoJ77l9w60OEUO/5cGCqU+7eCHceiFgIL2auHWfbbMP6EcXEiYUNtX7Pa6nZxaounAkB5IxAslR//HkVMlsnU8WeJISOTsVOZTpNcnqaN9bjO1YD0vVeP0UpYgcE7y4oEoYmK1s35QEnnrQQmP8U5LDb5xVyGJth8V5D5awvXZCcUvA4hIO5hNNGZjqgUhuA5WSsdv1eEhJAimw0C+IY7QZzC//sZeTDJkx5v7MMf8YCjcVWKdz/XhF3VdQTIGmdcp4uiXx2/FgvQhXGPrNisc5x1EN05gTy+P7Oe3PmGG+NceLO5JubC1O7mOrkfJfHF+fvAX7OjOfiGmlberq2lHWX9/YEPGcGuZkW7T4kHgSHzU7t7wxExL6p1UCz5YDVytIR9sQ1QkRJ4JevV7srJZ3ny07TmhvbrifeIL1n8LKuUo2qdVChLIO3AeKQ/8mAr4D+cjuRRYneGUgOVY/AUpmXExRHB+3ovaIZRBRHYkK+6SvYcy0Ukj6ERQ1ZojOevSNyUOOOxPnlKnCDW7IqZljmbq7B3cepXV4v/IGsOexkVKquS/0Oz2oK2ATUaxLcJGzbZGqGNqU/Yz4AEk4NdXLq5yD+DdyLZzFozEjjKBPXwaZ7lIXNMW6r4f2cOuhjPFl7GSO2ClpADnqU1XGIv8wmS0uhGaXwFAeF4qpXzmaYXQjMyJ7S2HvRMUhcEvGOStbACna/1QG4ubvMNSlm35/4ek8526iX4W3ROK/aCxRmZ+uVur7VvCDIjQ9ke9YImV3rtlPosRleIVTct67SYcDg/fqU4Di2SeYDuSALS8yTWMdRNOhHiwErBAREeyq6QC3imD/TD9Q9ywJ0YDu+/Ngj777trWV6Z8ZmT/ONvXUN88iESSSNTLbBw5vUNRBgBVL6pZ53hfJkkbNGuxeHSjxcjMYQHWJMiqiNQjM1X1OsaVJ8/b5yEWTYloxos9oVNrjoRyQhtVI0rMecj14EukhOWnuNkjNOw0CZrB3tcwrMxrqtpmCrfslXEoH9Fcpf8Pa/wx2Lzhr1QkpjIMVtHYGZR4pzMfEOJ/2y3avvOtGQ1H6b5XYw8nF60Pu3rClfya7hyy5OTvzRP2GL9lHY7y612jaRtyWDCf/bzBReObBaE+iVsCxPK4AycC2zdeGzbJWN8/CaKfPyuCETM+qSl5k868Vas9aLozRhfgrfE5U/hAtGxCWlgfYIC8bgkjp5pYvfs0/DGmo/xgq59K4MmG+axsRu8R8aThlfWNUkpE/rxBkJH5I4nNj6DSKaxxcl4gXoazN/x+DN2PIh/a5xeBpZza/36jQJBX9xoFU2RSGZKPVfLq+jlX107sze9TTB4/gVjOMH7pR7/KkRC7Fye6Av2qr/1LjKQYymqAH5vG3SSGhXn+xb/ibiT4woVxmiZkO6RKv0+sFwl11NdftOQj26RhC0HDL5M0Xu6vsnfDC+vYlGIwIlrAqaLx+SFlJbSVcz+DFBfcsHiLnsi4EsTmfHwV4vNG0ubE9B9puaAI1Irc5LeasAauPcbZ4gELOcVrxs7ZzbROjZ1Vwe63nCpeRZxOpLusum8WEQrUbdCLjd392qnbxEtkHzBaUvxzmfNxsFUwvBwwc01OxhML2BuJUl3pbLL8+ASDHG8dnFc0eEyITLudGuep4zVvnfXj8gRYS2B2iSPDwXwWxuHymkUVd3ogrgIVh2bTw02b0PfDS+JzTOsRnRZ4usCqg+l55CiHsQiH50YIEH7mwl3QiPM/sEerM4j3jArMtHmTc5r33C3ehnLZ9uqDGJli2zZOIQe8Eip+KbA7HkuPzs7jN+NiU96xPnpqKKm/5QsSaOoYaz8iT/NAWM1l+LOqb/XHAwZ0J9bO/VYQekD0uV1NQ/ZLjFawnE+kcrX6yWfi1j3SVaGUINx+mXcnl1NsPUA57qP9kRAV32Jdb1CCOcfvxt02YOU8W+tgn/XppsJlf4EUVzShsfOS+IYUC4W13RtmlwK6BRB7Qvjk31gmzG+tcn3c14CSbeETud/DWUb+kPYm70SEhTIglj8Por0VKCWsW7IKVfpq6ZsiibbfwS9CFjEmDw5+aPrgvG7E/31OZ4yIOanPrLRFlygLT6WIDdA8mMoIpq/zl1bNNy6aib7Nb8ktz86dIgPZhIxgaadK9Cw/s7S1qedUzXmQ8IYa4PeJSF2iJxmh0uAs8VisDdjQdR6aNNZ0SvOb1Ucg5/u/T/iPy5M1rMTwWJN/hKuISSuNX7d9v1EPvH/ofmQAfN4yy4YSgecFmbmkWuc4q+ytJWciZ4eBEGzmkOp1AMVc+sYMJtOLJ4LrjAJvbj7SQvXOzrbUO/lzZ75qC40HZgQmM4wGN457favP1mZAwBTE653EopBhRT/V9RJx8k5s08C4VXEDHVxs6Ve3IHs4m3LOvKNQoKMUBc0bc8xWKpzU5kDg4YS5n/8srNqfdjjARXRljmcS5cItjK/ynws4x9EUmxQ1fVSaoE7uGiA71nEwMkk2DWAUafpoa9cAF3Hvc5HFq4hPq7CR06lxHeZl6DWHT5ZF1efOheplxcn0qBqlyqN991RT3Ow1k9D29Zr3Ng763fOHhHe3H1obQNdDGITjMpi+nPAdG5wptJH4Ep+cwS8SZKQD3l2XKGDaMPK/nruMmTixQwLxRfeATWRSS31j08iCgyr5Rrhm1I4ykNoz1ORUe7vhzHJtRLyyqW2m7TuWIAB51j2VGRpT9Pqf8I7mLIGDjI5NIOw9/9/zhAbKNZ3mhsSM/usyREFgqC8eJfIoJbgbWMVtGzT/57LmWybXtUKN8gUVOdPKp+VuerN6jnbZ/xdXHfgfdvTMddERFZ5gcg2cfq7lPxo4XYji/B1yL1g5z1V3Xv6akzMwtCUFjBmrgfH7a6G9z1AeNXVHbBF8sYZUSQfr2ViWkheQmvwBC+hEsCLXCZtp910R5qhId6QEr4VXoglHAFuFvnVLpWUwV4g05Hf+TWBnjLdcvML5u0sSm4ug2Sk29p/g+w00eVlG4ZnCzEZCP5Sp/IZbO5DlOLDbcvhbVtYcLOcXUiGak+bhW+KM3/qGmOnD983a5ewpAFHY99artDG1RdpRTXvLi3mI6MYsPVWiFCc3wORuUn3h2S6q69c55ylHkijSvjA5shioHMcYjJwkA4rjIgtVVRUkTnRN3ZvMVKozyT5f4yHmyf7juZCvn4FX4MbbRDvQcVUzUvDTyBYnn7YjYDDSFyTwYMt78YK0ikb4o2a913MDM8vhqfZqd1LV45Omkl5UucLi4gtHqBPQjhSfSzYF20+aLnwlH301kkZRZ7ZIVDWVMfyt+UhjerBswDD01nyVpAybxoPI7a8/jdYZ0y1bkBopqVAGA+OP5ZoI0AyHDPGcMGA5qKc6R4fbVtiJOaiqhwuEVaf1l33a0bI1oIvI9HRNZxCmCAESvrlJSCiCi+F/d0zndJp6DrkdFgxoRnHKul3bDTgjwA9l3NZRsHHSymcfg9aMhAwzj+eCgPGEW+nuyUtXd7Q4q7zJFp9U4WNjkwBAeIg6Pk2uRzIehN1Z90g565fc0jjuHkT1Ic133OiTA/3s355fOdSqFZ3mUP1m3euB1fZq0OwaUuN5KALLwFZYzVcIu+wpkeAKygr9oY0v+M9Ggk1D57XjE9UnTPi01oSyM24k5CVU2j6YDugWRe/uUGet8QVMLC95QOOoUcEPSR9Dsil+w+T2YszYsw5INAad3aOScHcu/3BzVaay6rT3aXP1Xs+grstF17dAtVTm9o5C2kQxEvThF/NQyPNOeSsdaMfvFihgqPLnGR3Tw+UsS93E295l9Bvbqa8n+ja14jxXAz5yLj0T8bOzY3l3B6025grJ+UtnvOEAQvcnF1EtB3HfXoJXKSBkgOIzSQvkfYyh0L+7xMUpFawAdtMCWwz7Ttunx8nIt6T1PuqBfU6SLwQCGOea+pQ8QNI5RlVIqumQqeGBdqMjI/g5DjCcfRMvn5G8MXf+YbyNw4NXKyqkMIwdqNz5q98JdeDmBhrah17c4Mfuao2VQHP3HIvMjjxFLCPrWMFKTtygq0y+NSCSht8EG21rd9RuwX8nm9heoGlrQR/kZ5oh0/Q168/lFZ6YLjEpvhdWUPr7DH0pXn6QD4VmGPseRZEz2ut+5NCzs2A4MLW2BfTZuwZHJQ4AxO+e6Hny63gAAstmh7cXgmf7p2D/DVVTvqZWGXLVHpPBxPHeARSZ++RPxTocBwwqWcEboTQm22R6F5MYm0QlNMsSIyVyq0XgSxTvIQCzV6+TxNFX90BZquaxL/7oiqmWrA8ayRBfS8edlbH3Qggz5gJVmSbykDOok6kTmGSxSoU/fkNXuzWCewrmPy0iqfparc4+7LdP6zNe5AXwlzepHxVG8Nid72oWc01VOoKcBmu7werlA8rakvqcw7cVd8F8pQb/kSXoxUlc2ww3aSFCy9PC4fdcMwNDENLe4C1pd2VAqg2LssizTIrRrzBCjnWWD7geoxL5puNS4I0KVrEewN59IpP3n4+e+4ZaioRgxEv5Cx9hjcY233dE/A/AnVo3xF6AKlDSkWVX+uGHwDcAnWq9T431h5G83nboU5eVonwAt39ajpyr7j7V/AeXbgv+gc9AoTQmKntU3oZNuxI0N+qYyRxcpV55y0PU+MtrVJohzLI0Uo/I2h0UdumezA2nbFKAq3ArroAZQRryEWtmc5r1aP9Xm9OjK/CYQKvp9SiPtMyqCnlG3wjSAnaf3+lFGXgn2kmk+A6nVzw41KjmU0t8+NpcikeQEeda9NZQpXzKnYiZPPjBuy264sMPM54jCYAct5OqW6xuY6d3rPmX892Aic1kW5BLaxn9M2dkxqvyAL6TxqGJiPMDH//oAH/edicmtmViC928AwwZRHtf8QCwpMTKntlwG2SCRzeWqGVsruc7Wzowjy9ZtsH0tux6s+CBwC9y+pzYteVwlryOgcQ8cQDyKsH3ZTrIM6PIlERLb0MDwmnjxbt+PtzCkNTSoOK3gUPhdK9YNjeMO4ReSkKl/kWKEZDAB0bJerMkERGnl/mKGH9fbRhdU3zBmGa8emIhuHHHu1oAwd/ve78w3m9asz2Pksufz1POGq/fgYgQEwenZJ1UDp+08jqAmqScRB1bUdc27G/r8zHSziP5rdAECixHcYmiRtbY2F5asnelRePyVo7Ks2hiPVUbKDIJXqOsD0oaZ0pJHA8KG6W6NLmA3QXKWEOCcD7FVn5mZ5vGI/JHuLQ3byfqht6OWBtxGiguGQBvSwHTRM0QB1WQfAzxaFBDVeCSJZuyxe79QmH+awYdIxdxAOAEJJVJ1o3TECZ3nmsYOCb9I7HtE9WqPmQu9/ih/8+UXLKB68FqV2eUmuimWyacp52Rs/YsKJknf2B8SX8lACQDvHk6Uag1pM5y4/BykZcgqDRsXIxq2r4mn6JGhDkwNXnAX6zKjFrB7WClezyGeQUH/KPcN+cjUx5om+exzmLEucMtDaN56Ypd+uSZdy38JKPlA18w4OQOSWaJuj0Y576OtdOiPXx1+yvWOURZ3PT7egAY3xmWzgWfBFI0EyTCkQQ6KNoS2jJ1lV3emu3cfEm9wRF/5x4vR4vVeNTzdMSDzng0VM/z1BK49yoBZG4128NIz6sJgIoRLqZHk6yOmJkvvucHj12F2ob0g86iRmlu8Ygx7AgAb6KEl6w7JNkfSzFrA/CyKvTBD6rQDKmirobf0SMHfwH62g5X4teII+l3tWK/JJnk2ETwmwZjibly06r6Kiy6uMCZe8uSvvoSD4YmJ89j892aPaP3ORMN9RMMUfnLtXIYydsvMP9FV0pdRfG8/NDfgwpnbYmhZCaKW71Z8RBYWKNK5kNBBvshCL38ouZHg7wV2mgO6wciYwyZstnkoEnynwpYGOhQwcljoJds93ac8DJlgMZvsqKYIv6hR0Ncrvou2C/jX58tj8mJ1goyOEp8ks2YFnLTCVd5RP8LzOiMA0K/Esm9GS0u6RmD07vl94Ja8xXMi6dw+6t497ndogvmpOVOiHOmriaqxsCdKKk2AhCYE9KqJ6YrevEnNA0WldRmOK2BSxbvrdzXxAOd8foz82AEOmAt6BYrMLzM2xJe+Ao+cTy2ZgGC4bsZhIItr5TdbxRCkmtaszz9vxloK5gmVnpAAX9l3AAxV00dLfgnuv2mqm1EicQ375S4IXcwlq+KHWJCfjsJhSN79BpvZ7WRmUTDYweK49VTqQHbIgkt2f3aDcl6LMHPQr2soM4Z7fGz5Xd4u/rFHhNps7srpDvCL0s1uMtjqirJQ61XQjslOrRN7zhrMXWXtS3Fh1P9xC8G0JFAyaalJ1l1zyZPnzluG+xQgesBu/9/0u/Hi48qfM0+d/xPxlOKiuXyk7wg78aUtKRHm23hYGnzvsldJwMr7BwzD7OUcOKfn6aSIXjbhe2EQ/CMETcvr3+VzFb7bVG2GG0r764d6kQJhA5z8ygiwNPrNSVKWq86OfA9bcJ/oz2lzOj8VvyOmXBYoFA8F6alpescuwcUHGDnODApUeIzSpZhvH3es/JK4Jr0A7u8fIiJ+bCuN7f6lWDjUEw5k1Pzdqq/LoSG7DKNgekGA7tOG5tZ7/25JK4NW+48u+5r2jDn/Eel7lbnGrylXe9MK7h2f/hcZMpNi8aNp3YRWukWtckRJTtEMVWHeqKkUT9I7PRkhsjdf4J9IpPaK5tleKaIW50v7wzK8vkozDRRjdNpZd1bCxq6BUzR3to9ynWC7AGCBW+APu3zsw6h0cQ5g1nWV5qAx/hoDTGxP9QpRXCNh0JGj9t0r+WDYGtUB9+Y2qDqZNHTg3GKw7XfIrpld9LMDal9+/J0qRYP/eBjWB9eOxFxKgDDWmjBjihfQy4tEDttX/DuD6a6o9hRWtIm3CvmFbagX2IhHKk11p1PgvJz6kxeEXxCpkbcD6/uP97WH6yDvDyiXV9gErAkXgRB6HiMJdD07vmcMqpplwqlRj8EXNfsw8MVwa5gfEOu0bb1N/caBwozg9mhWtTcmdBKiQb6AGLbGe9DAfL/BodjdjuJMMGVBPVLTuiTMxOq7jY7CGVGpcCsLGGMJhoVvHKuy/jv0/OrV6D+P5TK5KVTFHj3Weo4/36hIO1f0C5KokVB0XuVHlbo0n58+RRd5o7j6mF0A/SywQOAZGRG4qp0rXO9AZ9mfyfIp4E0UBE428kXDhYm/6TBupNt/2xdnFghLXRVMN5yauPqM0eENoVA7RnVO3VxI2SQlPrtSeF6ieIstbpiirCTLcgrYlpklHCtkhb+AoB3Ch5d9WUiDSshPibSQriDFyQpCPM6DcG9tQC3d7jsMEI1/5pChv0DxLZ6u1EY6FtESxbnoWDIt0kw1nkdz/ilXGhh81wGw1Pf0orIvkFBvGYli09K0wfQHTSC7SM1R+6sRtf3AnjlOFvp5LcczFc9mQ68jwvQVrs5P9f8gf2g7+hshlJBxmDbd49d2qNM59sLENOhmeeK6QAyPn93GAqDSCUnwAx/Nx04YihK6ugBe6Q2QrYDS+xgmUBL3ogIjFnfI87K1SLhRU162b8S93JYp6VU++Ju9k55iAGbaW96wcVi2ku2N2EIiPGsCeA9rP0yL7SGsTxceCr1uG1z2oiMAObESherPQ0b9HpqWD6b8Pn6mxRcShvtW+M27Loe0qklk1pSbPzWu620PENRwtBsUQRLaseIPjgK2expqf9w/f7hrdrUEYQecE2+B5t+fn2G6dB3L2lbF9mqK8cFfsqBcGJXHe3RKMsu73ZV5LeCYONCxLfOOyNPNPujIYpARyaHwR3nYDET+MZXboAN/q3xaPf8NWnsWWSW5+1iQDjtzuviQmGFVfH7weMCIwDbUsCGdkGvNrIW+8sVbneOBXWJyUyfg0FE4xMK641RkG1rhvgvEoLTMHLOnAvtVT6n3wKuhLiFjjPS1bhgQxsAZmAKIstN3QKhrugoYEcFew4z9kjMI7i5xSPzp4VoqkDlzYpMvVk7Ee1u64OMQGRjv+groSZoTV0XIUOOf9BfgZlMSdBR+1lf5rLsUIbTGkNjqB4gTV1CmGNfR5hTAUBXhem6whVcUpiWi/uUPCt3T1mgNBEXAVMcmFrEmC2yuqh3lcf1zjuI8o2KP/NeFUuOepk9rZuuX21AVryHlY09BPfmTP0CF2hMu2xIORcaPpVD3BGoChVIa4xR+eJtMGcZRg1XhoqNwd7lnUHdKNRfYyFdnxvWltJgEyg2K8bmWfiJaHcnUNdD5ayOawOjOVLR+YGgcw90JTtouFPSf/iB5Ue5c3PjO23MjoXaPQ+NnwHenRKd1j9fNkIqjeOabT5XsWvR/EBJzpEvgIJKVbZugi9ZUw9NfscbVIihuCoG+nujO7czFer1M96iH/Z9yMz0oQD5w0exnKaHoGsL9HymoO0W+UF29giizBy2fIcw0SaHiZ3kvdFu/OiX3Ncdw2YOAmLVImlV4aD906kTLN3eUqoGpMhbMshIVeo6l0xX1kOYQJlbsEntb37RaNrlgUuVNUbmxuNDrh6TfdlOFoAUe/m0nUPZs+olUHRbXlRpMcAdzlHnNEvnWHCPdB8OHoFwwLvpjyeSBPmZBqJcGLSQYRSnO0wPfhcZ8SgtD1evwO0kl1KiySNB64QtTvkUIHIj7xS7lTsxNKjjPe8AoPpd8ZMoD000rSL8Qe2oT+tDRTtQaScQIZZ++E2U2Jb4hvuWVTTqUchuicmE2o72APFkSvV91EF+nyHjmoyYsvOSXXp8JlqmleyLc9rG+w9/smCSk7fqloeW1dwcFZzjkJ6Ri0xupyhpc0SfGWolG5qd7CnklY//OdHXLccT5Y48K4zYgEUmVdkRycC+h7rxm57Da/dvwo7y5p/o+Ho7UoQp/EUfAv7dMoUFLryvvKj4QAJh4c7MV3i7zT1qjLgYoGDssbLTaHbtmTimWIHEZxISaqmz8sJ5CF2YSVGr9QEd/K+XOYSg4Uq837zz65v3nFI7xPqceUvFrnoNBObUdeWSVu+6oPVCdxYhkrdgpr33PX/dzrElG+RE4/wTw+SkpStNSJdVNWw2CmifUTeh4b2Ts333uuvdcTDqwgZqub+lZGLSkBTigNTAkE9hW/+VFfk1DfnIqDVvw+qZy4PrhtqTUL2HLPu90HbIYERESJgLUpKmi0SngXmZtuQ6THhKWFb/PJbFhFuf2JFbYKP8PJcTJ3T1b6nPp5OMTS9oEUbim2/6JNafBRC62BiXlh9pc5c1SpXSf2iWi5TYkJAU2Px2OKofkR1QgI/6PdVhU+SCjsPYzVTgmPSgypHyc7LdDw/h37fwo1jx4gxpy7ywHM7FVr02PIXayth+zFn/kFWWVMB+hwyW/3YF4IpLHBulmyaf64UUWD+FnLz40BVF5BTkJIEqjWv1FhFCNkrF309cDrUx9FAp2w3cljZMOoYcbIkI4X6B4Ie9mC86Fsh/CADVcgz0pXysPaqMWmRurH2KtuqWpGjfJtWZ7QtQQ4JWDITY54s4sZrAFTNpKjbn4rFfwWy2T+9YCMZvb0Or6OZyn4D+CAdYKKGo2f9idwsGFngy+t69ZwD1IjzUtTKGZg3Omm6Qj4ax/iKdseNGEjkCBcsuTiFenjan4m3EIBtZlyLhsNBImmHfbDt6b6/balSH1c0UxPZZlecFHxuvMOCbEwr1QEH45C+vgG8x67OgfLCvk95D0osK5dpWxBYx4Yt3Bwxu8dgdNXkxCxTtNy2hId+s9B2lYUgpqHvTzzR9TrcpFA2SKBgMwP2rztqZ73sp/m7iOaKFKjb6uA/C7D9KmwR9eYiD4715j2IX8tNr/Pfi+XNFgHIccE3t5K4pjgLW4oTbOtRixi0ykWp6IMxHBTKyYdaSWjKADj4PC/Ay9WvGnHvYkkx8GAOYT4lH3ZM/EwP7hxq2m8RgQytmyzyAwGU+RVxcTa19Wom2syXqHTI2G6Y97FlIasYxh+bdwFUN/wbVXhSGH+9QOkMzZjcqbywnld/QqI1tFQglgYosAWMX6ysYpzDvg+t13yvtk5kOy47WJHYA+QzhluNT2U5Yl9qOFdhKlKmyzo8HhjW3G1QshHZhqVjImBL9ElYripMHAFyfr9Dwdrtd4l4EeXfKpYFU7tD/7ZAg61lTwZQT+/hH0SSO3+4AxPhYbT0veplXhA6vx39fpyCJV5WFLhxVExgzIe+imUdiTtMwN5rg9zMPFT22HjGtI7L1EQd9pwXaMF1O638jUgVkeORz2YD/q+s6KPTeAJfvSRloc6c0hLOoW9jGsvojyRjifj0nxrbsXJp0q71e8LuNlhl+y8+rm+rBt4VrZ5qttCEZJlaGyCtG4W+AfCpuC63kM6Dt99IsapLFpv5QimGl8j+mdON9C7o5wnIUj+wT6WsM+EjE0HR3udNVGyzz3Xk+5p1XksHNNNuSqmJGLQ1JGIXt5Dk8q1/zSJUTHc5eLm/tHpUO01O2HEIXVXzmDkw4UeQ2b+FmizGkYvCJPlg6vPfTF3qw3+WC7IpNap1gZpr9sbcpixeGVVoLMSHsbAPzFXrNxYS1Au/NK5u4hdfOWqhfDw4pd216COOxR/bDxTWTZ5OeICDPv4WZzFX32/g+Oghe3WOy0Jf2v7mkUXh6ho75dYXrSlNPLydmxi87CFK6YHB/5/xdn2BzpJNn0FRXPTOA3/tm5UWGJQRXjn3J2JD/UfElwdrC6q5wtcTk1yYifRjVDSqmDCZcKamp4CoHMhdkmw/Ivrxx9Hb0MC7Um7CeNKwxcTVJ9x0uWgRX7m2qm49IpAhJrGp7Q37EEJqQsA8oV9Hpu6hRsbZ1Mrk0l8XA8DpPrNrn29o0EFDXHVkX09wIO4v/dw9zFblDCbIakyorldDkAaa64RmNNNB0loqGrBSx/VankceFWtE9iUxtAwJy8MKR/CwG5NT/yWQjqm26GP+eb2A4uKtIqjgS9hohOFB0cvcPjQpQo1rzvfUKJID1coaYQUjVHAbu8Cv1t4GDsWcPNqgP1WdWP2tU/ZqCQ6KiqUfDsSGL6Mo/TEdA+C3ehszuQ5syYsWvoW+rIQjs7Her82Gj3bBrpa9dvfPNMcyQGOOJ1gZsCu/Oz/VGA3p6H/LhTnsrpWdx+VTZq0Y8R+3g5zEZ2JPCoc6eg0VkQHESEghNBDE04cuqGWGw3BNqAh1eI58LiXILhCU+WXsIhy7olrurnK4z20FKzk59IsOrWiGVAzjxMo3gp5Zn9oAIg/vthQBOtnXx1b8GR5bVUysw669cwkS2wnWgESYqzkNqZnnV3tLeJeOcMZ8NPpDCW2yOundtWzJY4PzXe7nu4UqTVrxhm1xJOKCuI2TpH1JaBNrxHt/uQmrkbYAtaPGKTzkYgIKT0gNefBntg0Mwj4qyHolR8RYe9AZskblz89D9b80x0ndAeUMWd1jK7AP3FsiE21yLgP3ek9r0XewbBDYMYBbK3iSJoe1/9+Icli2+llBjx/j9OhEJSq/qjOkhmSxU3MryukEoQzsWbG7f+Zl0xZtEbKrWpiRj+8kmCMaTHbryG6dtNLUEFAZTmKWPQcv7nqTmYgfbnUd31+ctDYhye/oNgC9QJL3Ie35h1AUS3cJZkhpySAcSx1i8N9AFX6HfnqAp50rC2ebR2Hk8dgClKzCiPdghslexKOF7GX+HrNvGjPWoiBs2BEFcxQNgEsAOrX/cJTy7riNU1/pvd8Fp2kiO+h6VuZGFltTYn9XqdEd6zbtzrKlRW8eZS+SuuHXFihZAgRARei7UvshpsB47Rt+SKHqeQKmymSILCRq/2P/1YLhgMC/Mo2mqVYoncOv9zqGapJZaC/uQLlN9AOh1DWDpx7az3bHBhc8W1N4btYZM/nWoBZIkfVo4M/0Y3lpqj6TtH+ziDDAy9NtCj+vmTiQVVsfzv/XMl2Q4l1R2rmC8PobdcYcChdgxb90+bQeJiMtNML0pR/9WxMyLrdPTDly+EReqtWLveCcfqH9FQ7kX9tnSxZZNaxPcaP7MXBpAwYMG1QU5WBJuXLDhb2gbqMyIeeVVGHvgz2UEEAaHdIDoQGK/AxdPNItFo8DBLylAJcKnmxojY2OOxlporBwWIdI9bOl3GyM4RrFjcWqWE7Q3nXLhIwyFvkgO+3Q2+tFaymSkR/m56BUVrNVFCCsAMUYT/6JABAGaHPeqkH6zgWQuqJ0TU21rd6lvdaDStgm9Oozm/X9tQB92ttpQFqDyaAuVqz2V2LFg/AxGGczejHo9gSDj1J2m2rYiHiFBp+b+9U9H3lIABFDxuNSYhFsZZUSwH+GvkCLV5b0hflOVm/t9VYIlknIZZQRGbX7ok+L9pcEeHLDi+OkGsYgBLrbsnNYdv+SEHOW3xnxstrTpkq+eoRrYfeS6yGOC2aBKg1g0SHB9hBSAgZ3SMEvUVNfnmg/rQGonvRvrgGhY+Im07dIu7DsHUvPmKFFF6pGgqgaqSKmje/xkhNFE2SDo385x7KypWOYt7lLd4LdUgbCgu4LtxPabVsnVgNgQrvxHmyzbeMBqPGM8176svKFXVScobDwIljxMILq+HVmYptldjbrcyci2wZzVKXBMcUYkbvnLaY7ItIrxpJOFL0B2PKt2Kvlj9ucwRXpCrxSJdfKPHlu5VIjJRhkLkkQNT1sJzUZx3l7Zc1Gii0JCFKNlvAmGhIJsgU54SgkRfOKq0LGZ12Q2uNDDaSwPrUbahzMpkhh7RimZNxwiV/pTIg68GI2VizgK4YdCQTwkdiRvTG7+16CtkwICZlcTsXvzLyzQm6W5BRGvUDi49f9E53ZI6dBnJHf+fpMN+av/QG+6u2vUov+3kfNB8FxBvTIecQXN3C/TunyXKFRDpHcKFSuwuIP5/xfGLQNlNBAXgops6ieW6exGH9sPFzJqfb17WtCmAq11vLcol5i4bNz1beVnUArvR2F0kTTgMsQ920O+ffBsNL8wlfNQmEAkZuFUDA7/AzKPCz2Q0CtruBIKmWwkmyoZzR2lF9JMUgYUN313lFTJLMsD7WG6bqRYiJv7A2U5qHQLjEcZo28StCJPn1uujdJPK/e2beqQY+Iqx+xtazuDOipokRDa+xnmkIvq7AUvcjXEDBMoYAcqLCKmGVvjbs91f6q1MVAtjL+DQodlAT6YYhj5R28w1/lm995XNBD6MEYtIi5LeVecBXAhjaHpCsF6ieoF8XvtJrApxgF3YaNVHtrZzRNebHS85E2wfVeB4XxwDWD3DvuMOspDyhJkzmSrIAmIczaEgau4WvinkM6p+uG91gF8+1vhF+VJ1EUOSnUL0IoJanGMwPCrT4d5OWGsOIqoCNe/1Jm/qS+cF93Sf2Qm1tHtd3kPHOgRk/IWJ+da4PuHTFRuwsS5R4tIrpwcrKKEAa3Ywq4J9AADBfvYsX0t/zQYLoL7KuFJSt22K98pSq2ZQrqN2F0seKZBZi07wM54cElln+QhEgWd2uuqaUIHWLJUTRH78hjDrzkFjpIEWnzM21L6o3vvTqSgXW20eRYEcteptiFiPnvyGgzKfH8jDu7uJwNnHucLn1tElp2e0XbDpvBPFr5HztFwtgLvv3Q0BIscEeupSXJfGEEfipRrHS62W487wL2MKI9bnMH+uwR7Y1tGleNWmpP6j+bDMCz7gQun0PoD4uDOP4cUhx9B2dPl4FOUyQ51A/3c4aZvarrHz3rGvOhzWLkn/1nUTh2/T0P8GNxO1oA8RRuHNgOrqzDhluS2+DB6mQB4Q4KfLE355rdlfP2RSDQ74nzwRHbIl8N1L6ynVf6FJGeDpApyD1xjfWuQYf8ZqU8QdGsGtSRO8RInsPeoTtdxY1+AK6q/+Q0rv0x2qDKAxCY0zINvRDvqxKmEsxFotwK7T3g6OSfePhJfsNKbVDQt9gcYJpIQubp7TXHTvqsuUpY3Oql9BNG5AlxJUVGxPcjKNSt2Drp6T+GbkfI/kQy7SJJnvIIQTLWa/7J5LWjlYHOjl9nzATyHGLKiKGZnu0Y83ifV6g1UjOS5k6uecdWmcpD65m6N7immPSn8KbuqpT8GoWAhMPz6Qt8iZivnnBtScVsgL1DRG9JOyVNlbq6SHn5Sx4Ydx2tr47GFr2+a0OM10KaQLaoy1tgQxybTG81Sk54u8hnqszAhFWs18zqC0DpkunczFzlzI2NncI9hVd43FMi6xDUOnww4S8q0A9K8OeF2LlLZ0OUggf1a7kLpKOq4QFTqKs3bGItXkDaD3KEh1cs32q6N7W3KnlAPJBhfiq1bpLvM2oEOpl3jxsIQLjrloYKZX9crlXNN4UT4ApBNWNBksF7/dKPCLs0T6zEBh/3xx3xUZEV2AWuy49PxK+s1HfWeXU3TQDzhSnRJF/tF3yxrN8RRlu0o3wNCPdggQNFDeNDxVE291GAk3wxsAXYQg1ATEhQD6ZU6Fj1NZx7zbYAj8n8uarPxEvYOg8RsVEwbPrsHnXVOcQ8Ld0o3QWdZDyKSi6o2zaJ/AzMUw7KeqTmajWN1OnLRKAS4sLy8P/MTlgEmLuYR0d4vTHw6JcYIhNWteqEYWD5WOuBAycH7VVtTDQR0pLTYkCOJSiDVqFXkcp6rY0QNVExkAAfm2eicjdrY1cq5Sa2YRz5lj158JC2B0tvz7jTYfD5Sgb4xwO2e8tPGm/B25LIBGbyAJA/ycVhVjKqBHxa4l7KsncJn8/djupXnyq4bQCWiC52POWYVrQxVwtnSrfzyiHRPl6nDgECcjXXnG5AB6DLgqw9b2vo2dJ4mU8W2s9JF8UQG5U44wqphkPEMu11FakOOnLr1UgmmQR0DxO95sQ/N5pw/d+c5JHmxs4dH4ZMxQ1tJ9196cNzi4EocKVZX/55eLdMd7YxF5BPDN8y1wRi6vwjEWwZXawnZSdQEAVQOKniRZ9qtU9wpP0Y21xK4aw3w0NE1wZN4hiwvE7T1WyFLRAurPtRMG1ls+V1T7PwtuDuwoDM0Arp1WtUM7pe02/mGrVkM4k4v2ZiLx6/IIQdkIar8ubWOpMMqaMaXi0j/bQJFBlx5iQUIG8l9mP9CJZ/fXuFv6kEAi5+dfSuwC9OIxBpCjgl9JQUvJQfOCgzwaqejW3IKUJiz4/mAWEfwUsBAyPGmYtsqCMLEE3u6RZUwpp+2dYkjsemzC9jsKq2ScSN7/H+5BvcPI2wFgnk6/IVevEjb1Qou167j/ou5gW2BPqFvb49nZSNEHJCnpJBG/YHFM2AuL8lHFM1Im7JbNI6qzj2LtblUb1su3TmeFiOzlhP9YUbdJS3oMwyOWz4IsFtoC3ODQopUUAEgG5npXV95OZyCMj66C/x2V1bPN5qxGgf4/harVuhKsmw8Pa0Xv3/pnt3eJ39bzygKYc1C78tGn7BQlRnsytB7nxV63qzPLe3ZkksVksFurRr8xYgmOC7Z6ZWFy6MzRgLGC4xIUvRGzsAgbhtLDDS1AUxuurEKb1tnfSm9TM73f4ugQSqSV5Lwc8L7F52nHbq8mAdn5ODrS0vbnMPQsfBk/yhrc/JGyzemZD0UHa5UWcXjSw8dRlq1KkIh/EbhrU7IenZ+TFGvBIiij9VOCYcaeidedXDUi9aK5Euzbjly4wyZNglHZ1893TX8TTXGZV58zvMbM2BLxQUsFrvoRAUCd0l+Y37JcU3HZlg7zGFYRhrs2+iq+DPfovuy/d6G293NjE0L6faT++M1OEogSZ5/NVl1T6ehmyXnLILoDJfzJyU5FUmcPM8xBBVrgEqhAX9ZE3Q9dCUxyn5Caz+k0OA/EPMLgehWvKHzPwjVnu8dU3AapQhqWZbn9hkEFHYKzopfA93I+ESeE6G4glmdSg/8gAhq2hA7R1kvLeLXLf3WPULYyDHEhTrgFYJcbzQHZz0PeQF7LzoWAJWIDyNFzzx9RmOBhJtnANfypIHwuOPl/fF2g3Mh0HLp5fjxYx+pxmhSeBfHbLprPvTUXHaMtJlcT7+Egm0tV0zuV/bava7ca/d4f+arzKw3l812Y3OGLOQzUkEs3ojlVd+6/KeDS0w8axXXSyZpM5DEafFJXWcReGGc+awX4SOhUFEW2V1e3yIF13aZpyqURhDV29+8M87fMF4RNntBnxXUm5BpxAUQpfvHTZcDuHbN71msCjUzP4sp+kzm0IczBnKcpyyTS/WEmwOdfihVlxS2AifJ23X0bqXm97wMf56MBt34TL0cG+JiKCpCgAB279M7PJ7/0o+JFltCXpqFe1tL1AbDQpcw2mVY5Og65hEnQiBk6Sl4FveNU3YIURx/olOcgJY4KKBW0ilGV6bkd3k8V8G76IZVVcEF5c0qNvy5Pnlx5qaod7Izo2kfJ4tSQXCiHbqjtGqMZz+LB4N27GStuf+9NlvHNKR3OE/1yPYrRFdADmKDoM7kv8nqtPIDj1+qQz5Zla7LVd9Zt0UUf5zH4mjnHPnHjEcg1OyFv6rmQPBbftn2hb6opZbJQHXT3qgnqtKjKIC4JKxknG6g45sCSYtbwNnIXGwT2nWyTaOCDiJLeLfn/hNb/iu5klA2H+/nvhg1YoqyJpixdfD6UBdinz0M8cw7UCI9GfcHTBz4N5rftZH/pM8rAQpiv19U+n5xHt1fE+eU4v3uRutk+QAv6RHE23o7icaQm5v3my6ZIeo9RXuInPTRhcBJ+JzfZsRdb5qDfBYevK9kKEqQ8Iz3hZojr1C8CvJfw7KQ1F3jzBATX15Of2xlKE9BLlPIGnOIlurAsB3wk3nYz62sR4t5EFkqaAFUysNBNFdTd2x9dKvsM4TQtIj1MO/XSV2FXrJOt1IRA0+r+79EUfZrpD/+yBsRlmeHhiLmsxmuNW8RLHF3njbXZrTOIZIqJocosm/I4mbYlbbgh8Zxytps508mPrnrReOkZLzAjDlhTjbayA41BUn6CnQ4w6/3IVn1pQbsevytIEpMBfuwbR9in+Tsa/uf3gfeFvF6GNziozLWveMBUXFXCpzCRv/ne5CIZbe9iLr/qNRTuGAUXtqm3FdEbv4H1+2P5RKaveUV/0RkJk7ZMWn40jGNjpCjOSzp/lgfbptPags5wsbIpZqr38X7313ofuaDCzMMDKZApjlUvGVRqfqlrfQN2Anlk0vTXYOB0WuD6nl0amdmCxJh1AK8eQtTE1M39AAwAJkfRL48JPu8u8C7gUNTJ44mMcojGmDDO4YnbfmYui/ibTXQZaSOZh2PNE18qg05zZxS6IUP09I0rO7gBqeeIhrrTENJLenQG+sAijn1WnDxnV9FekzgozviErMEu79OR7xA9jrYYuaAB6MJ3hJc1LXP+6dgCeT71QucFiAZAH3l2Z54OLkoO4C5bFIsKrCLZPyMJ2bms/Yz8ikWNqVdmJFv6T4CuHE29WWwqI+oFLbOFtOWQXajBB7R7E6LcJk9qXw0KGpKUy4TU8r4IhTHT9BxI3NV7EEYziqoTW36Z/HZDKG05dT4dNRtCImKcd+TmEX4qWGv2KBGPuIfO1CH//bV7fBTWOqBIl5vv+dbk4JuvPqsV1gMhXJpLxzS7GiNyaCqhVDoHbEsut3HcM5ppd0ZyrsUTDcVHDIeL9i/MdNetjkmCW76atx/v1bdPzaHnlr+bGNtX+iFpM/HDMktuAkCtlnBwIA+LRN35XsJRYMpUBl2aiM1ZQ4wonRJ5glsk1RiS1FXRJdu4zyS2BVYgRYXz3wrkMeo1Hjj/gBqHJWGX4PDNqkChi/CgydmFYzU3PtboUwBgXplQKpV/qqcbkqflClBtuWO8z+64p6LpVrl9NkafzzFJUKZxKK9tUh5Xa5fcmG7ky/5R0SNE37DT5ih2IclIhhLVIxkbozT+ZSkYmetMd1GXeI41iOi2FDKTzhrl0GXEmP+o82hV+zEp7vLnvW4/F0MQYwTaLf9oio6W1Gqw1aiEB0fK/aWmWSeZFFfYP+CJZ7k9J6uXjcfVlFKS8YAIawbnI4zVEBUlrgDp39AIkyWHHYFgel7JbBkpfWAV6vlut3WpTJXeayONPrGFdEJWQcYKqcN5C5jxdqq8PRnP8rb+k6EdHcVwLmRs340kpTJ5B6USZJw5ggOU1uaZ4k8W22SvEmpFe8r57Rkw5dvrP/uTekT2fQdpU0j6jdoJ4JeYJXqfQZp7pmUnU19HJE2xUGxWa9XFDxJyaGt9HkNqAzSEiFaaF6STqlT90WcWOSpM/prgr0hYIbqOhtCRddZ3PGu5Z+jQtWAPoJku3bul1naM+2R91bPTfJhce8vypaHy+NFfciniQupaoPSn/XjlbQFD+HKhupdUW9e4HVuprDhyfMkf5jKBlKIr+TzxiafMX7oYcORdu6SDPOKpZCqk+Na9FWWZRQUq7TrwKb9UYmBba5YzkSM+XX8EGnkypYoW7YBuCCn7ckngebFgs7RVYMVmCRv4UbpOml4CoxLe9CR79DZt7dAnd44FIThalXDABKyLyT2DxEYYxa7Y0dc4NwqXK+t3h1y4ePQZUMUtPAMUCP5k4qU4vhO1Trof01YRsALwXDwcfD538mm41ZZsjAKrqnHMioG7AfN7rUaN7Nzh75QMaBIXKnB6AA2+ad9uzWenswPs1vnkve50sE9ewZDadMYSDzdwMvCP48LWmY0GjGn6kM9lssHdub0FSml611JYCQZWpzsKnddQ3InMwEVZizj2Nwp9wqr7RJXz6PmI66lPav3/4qqEkLqlXBvA==">
            <a:extLst>
              <a:ext uri="{FF2B5EF4-FFF2-40B4-BE49-F238E27FC236}">
                <a16:creationId xmlns:a16="http://schemas.microsoft.com/office/drawing/2014/main" id="{332D16B8-DDC9-100D-8D8E-0A4892C7FA5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354249" y="1742524"/>
            <a:ext cx="7507552" cy="4613988"/>
          </a:xfrm>
          <a:prstGeom prst="rect">
            <a:avLst/>
          </a:prstGeom>
          <a:blipFill>
            <a:blip r:embed="rId15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4F79FF-4A4D-F1DA-6F36-CFC503E3B39F}"/>
              </a:ext>
            </a:extLst>
          </p:cNvPr>
          <p:cNvSpPr/>
          <p:nvPr/>
        </p:nvSpPr>
        <p:spPr bwMode="gray">
          <a:xfrm>
            <a:off x="5190431" y="5982774"/>
            <a:ext cx="1811137" cy="599967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800" b="1" i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1BBB30-C9E9-277A-F517-64DB1AFD9E87}"/>
              </a:ext>
            </a:extLst>
          </p:cNvPr>
          <p:cNvSpPr txBox="1"/>
          <p:nvPr/>
        </p:nvSpPr>
        <p:spPr bwMode="gray">
          <a:xfrm>
            <a:off x="5369663" y="5872804"/>
            <a:ext cx="483073" cy="211203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900" b="1"/>
              <a:t>Legend</a:t>
            </a:r>
            <a:endParaRPr lang="en-US" sz="900" i="1"/>
          </a:p>
        </p:txBody>
      </p:sp>
      <p:sp>
        <p:nvSpPr>
          <p:cNvPr id="26" name="btfpLegendSquare864807">
            <a:extLst>
              <a:ext uri="{FF2B5EF4-FFF2-40B4-BE49-F238E27FC236}">
                <a16:creationId xmlns:a16="http://schemas.microsoft.com/office/drawing/2014/main" id="{8F4C1135-3B70-D8E9-7F9B-6D187C6C22DF}"/>
              </a:ext>
            </a:extLst>
          </p:cNvPr>
          <p:cNvSpPr/>
          <p:nvPr/>
        </p:nvSpPr>
        <p:spPr bwMode="gray">
          <a:xfrm>
            <a:off x="5356963" y="6089087"/>
            <a:ext cx="108109" cy="108109"/>
          </a:xfrm>
          <a:prstGeom prst="rect">
            <a:avLst/>
          </a:prstGeom>
          <a:solidFill>
            <a:srgbClr val="507867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333333"/>
                </a:solidFill>
              </a:rPr>
              <a:t>Target strong right to win</a:t>
            </a:r>
          </a:p>
        </p:txBody>
      </p:sp>
      <p:sp>
        <p:nvSpPr>
          <p:cNvPr id="27" name="btfpLegendSquare864807">
            <a:extLst>
              <a:ext uri="{FF2B5EF4-FFF2-40B4-BE49-F238E27FC236}">
                <a16:creationId xmlns:a16="http://schemas.microsoft.com/office/drawing/2014/main" id="{EAD3C8A8-2C5D-6326-9CB5-203CC0E18570}"/>
              </a:ext>
            </a:extLst>
          </p:cNvPr>
          <p:cNvSpPr/>
          <p:nvPr/>
        </p:nvSpPr>
        <p:spPr bwMode="gray">
          <a:xfrm>
            <a:off x="5356963" y="6257357"/>
            <a:ext cx="108109" cy="108109"/>
          </a:xfrm>
          <a:prstGeom prst="rect">
            <a:avLst/>
          </a:prstGeom>
          <a:solidFill>
            <a:srgbClr val="BBCAB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333333"/>
                </a:solidFill>
              </a:rPr>
              <a:t>Target moderate right to win</a:t>
            </a:r>
          </a:p>
        </p:txBody>
      </p:sp>
      <p:sp>
        <p:nvSpPr>
          <p:cNvPr id="28" name="btfpLegendSquare864807">
            <a:extLst>
              <a:ext uri="{FF2B5EF4-FFF2-40B4-BE49-F238E27FC236}">
                <a16:creationId xmlns:a16="http://schemas.microsoft.com/office/drawing/2014/main" id="{A71BC7B9-119C-323F-6490-7F16904A4D6B}"/>
              </a:ext>
            </a:extLst>
          </p:cNvPr>
          <p:cNvSpPr/>
          <p:nvPr/>
        </p:nvSpPr>
        <p:spPr bwMode="gray">
          <a:xfrm>
            <a:off x="5356963" y="6430406"/>
            <a:ext cx="108109" cy="108109"/>
          </a:xfrm>
          <a:prstGeom prst="rect">
            <a:avLst/>
          </a:prstGeom>
          <a:solidFill>
            <a:srgbClr val="D6D6D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181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800" dirty="0">
                <a:solidFill>
                  <a:srgbClr val="333333"/>
                </a:solidFill>
              </a:rPr>
              <a:t>Target disadvantaged</a:t>
            </a:r>
          </a:p>
        </p:txBody>
      </p:sp>
      <p:grpSp>
        <p:nvGrpSpPr>
          <p:cNvPr id="56" name="btfpColumnHeaderBox846137">
            <a:extLst>
              <a:ext uri="{FF2B5EF4-FFF2-40B4-BE49-F238E27FC236}">
                <a16:creationId xmlns:a16="http://schemas.microsoft.com/office/drawing/2014/main" id="{7B64F3C7-6348-A8B8-F0D6-709EFF4CCBB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354248" y="1329123"/>
            <a:ext cx="7502790" cy="442108"/>
            <a:chOff x="4354248" y="1131387"/>
            <a:chExt cx="3483505" cy="442108"/>
          </a:xfrm>
        </p:grpSpPr>
        <p:sp>
          <p:nvSpPr>
            <p:cNvPr id="54" name="btfpColumnHeaderBoxText846137">
              <a:extLst>
                <a:ext uri="{FF2B5EF4-FFF2-40B4-BE49-F238E27FC236}">
                  <a16:creationId xmlns:a16="http://schemas.microsoft.com/office/drawing/2014/main" id="{9ECB4396-7E03-BA32-F43E-8AC5AA8777A9}"/>
                </a:ext>
              </a:extLst>
            </p:cNvPr>
            <p:cNvSpPr txBox="1"/>
            <p:nvPr/>
          </p:nvSpPr>
          <p:spPr bwMode="gray">
            <a:xfrm>
              <a:off x="4354248" y="1131387"/>
              <a:ext cx="3483504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In every customer size segment, there are a portion of customers who value ease of use and don’t use non-Peer 2(x) products from Peer 2 family where Target has a strong right to win </a:t>
              </a:r>
            </a:p>
          </p:txBody>
        </p:sp>
        <p:cxnSp>
          <p:nvCxnSpPr>
            <p:cNvPr id="55" name="btfpColumnHeaderBoxLine846137">
              <a:extLst>
                <a:ext uri="{FF2B5EF4-FFF2-40B4-BE49-F238E27FC236}">
                  <a16:creationId xmlns:a16="http://schemas.microsoft.com/office/drawing/2014/main" id="{F2E410FD-6700-2FEB-5B2F-79FAE2584C1A}"/>
                </a:ext>
              </a:extLst>
            </p:cNvPr>
            <p:cNvCxnSpPr/>
            <p:nvPr/>
          </p:nvCxnSpPr>
          <p:spPr bwMode="gray">
            <a:xfrm>
              <a:off x="4354248" y="1573495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btfpColumnHeaderBox603263">
            <a:extLst>
              <a:ext uri="{FF2B5EF4-FFF2-40B4-BE49-F238E27FC236}">
                <a16:creationId xmlns:a16="http://schemas.microsoft.com/office/drawing/2014/main" id="{012D4949-81F5-1E7B-FDB6-D4BDC2F41A4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200" y="1336077"/>
            <a:ext cx="3483504" cy="437832"/>
            <a:chOff x="330200" y="1086773"/>
            <a:chExt cx="3483504" cy="437832"/>
          </a:xfrm>
        </p:grpSpPr>
        <p:sp>
          <p:nvSpPr>
            <p:cNvPr id="57" name="btfpColumnHeaderBoxText603263">
              <a:extLst>
                <a:ext uri="{FF2B5EF4-FFF2-40B4-BE49-F238E27FC236}">
                  <a16:creationId xmlns:a16="http://schemas.microsoft.com/office/drawing/2014/main" id="{D9CD3C39-B8B8-C2E3-CA79-4E41462FEC54}"/>
                </a:ext>
              </a:extLst>
            </p:cNvPr>
            <p:cNvSpPr txBox="1"/>
            <p:nvPr/>
          </p:nvSpPr>
          <p:spPr bwMode="gray">
            <a:xfrm>
              <a:off x="330200" y="1086773"/>
              <a:ext cx="3483504" cy="4378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000000"/>
                  </a:solidFill>
                </a:rPr>
                <a:t>Target well positioned when strong ease of use preference, no Peer 2 family </a:t>
              </a:r>
              <a:r>
                <a:rPr lang="en-US" sz="1200" b="1" dirty="0" err="1">
                  <a:solidFill>
                    <a:srgbClr val="000000"/>
                  </a:solidFill>
                </a:rPr>
                <a:t>sol’n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8" name="btfpColumnHeaderBoxLine603263">
              <a:extLst>
                <a:ext uri="{FF2B5EF4-FFF2-40B4-BE49-F238E27FC236}">
                  <a16:creationId xmlns:a16="http://schemas.microsoft.com/office/drawing/2014/main" id="{C97423AB-6A50-F718-4801-059693B90783}"/>
                </a:ext>
              </a:extLst>
            </p:cNvPr>
            <p:cNvCxnSpPr/>
            <p:nvPr/>
          </p:nvCxnSpPr>
          <p:spPr bwMode="gray">
            <a:xfrm>
              <a:off x="330200" y="1524605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btfpCallout588164">
            <a:extLst>
              <a:ext uri="{FF2B5EF4-FFF2-40B4-BE49-F238E27FC236}">
                <a16:creationId xmlns:a16="http://schemas.microsoft.com/office/drawing/2014/main" id="{C3F9D152-E737-C7E7-5ABC-F909815D5CDD}"/>
              </a:ext>
            </a:extLst>
          </p:cNvPr>
          <p:cNvSpPr/>
          <p:nvPr/>
        </p:nvSpPr>
        <p:spPr bwMode="gray">
          <a:xfrm>
            <a:off x="7555036" y="6050523"/>
            <a:ext cx="4024045" cy="499269"/>
          </a:xfrm>
          <a:prstGeom prst="wedgeRectCallout">
            <a:avLst>
              <a:gd name="adj1" fmla="val 5442"/>
              <a:gd name="adj2" fmla="val -85672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ctr">
              <a:spcBef>
                <a:spcPts val="0"/>
              </a:spcBef>
              <a:buNone/>
            </a:pPr>
            <a:r>
              <a:rPr lang="en-US" sz="1050" dirty="0">
                <a:solidFill>
                  <a:schemeClr val="tx1"/>
                </a:solidFill>
              </a:rPr>
              <a:t>Target right to win assumed similar across segments, with the exception of enterprise where larger budgets and Peer 1 competition will never position Target strongly to win</a:t>
            </a:r>
          </a:p>
        </p:txBody>
      </p:sp>
      <p:sp>
        <p:nvSpPr>
          <p:cNvPr id="64" name="btfpQuoteBox300183">
            <a:extLst>
              <a:ext uri="{FF2B5EF4-FFF2-40B4-BE49-F238E27FC236}">
                <a16:creationId xmlns:a16="http://schemas.microsoft.com/office/drawing/2014/main" id="{5FD974F6-DB18-1EDA-CA85-FA1652B82461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8" y="5189460"/>
            <a:ext cx="3483504" cy="99610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t">
            <a:spAutoFit/>
          </a:bodyPr>
          <a:lstStyle/>
          <a:p>
            <a:pPr marL="90729" indent="-90729">
              <a:spcBef>
                <a:spcPts val="0"/>
              </a:spcBef>
              <a:buNone/>
            </a:pPr>
            <a:r>
              <a:rPr lang="en-US" sz="1200" i="1" dirty="0"/>
              <a:t>“Target wins for features I would say, especially on the UI interface for customers with more general users, because their </a:t>
            </a:r>
            <a:r>
              <a:rPr lang="en-US" sz="1200" b="1" i="1" dirty="0"/>
              <a:t>interface is very user friendly</a:t>
            </a:r>
            <a:r>
              <a:rPr lang="en-US" sz="1200" i="1" dirty="0"/>
              <a:t>.”</a:t>
            </a:r>
          </a:p>
          <a:p>
            <a:pPr marL="177800" lvl="1" indent="0" algn="r">
              <a:spcBef>
                <a:spcPts val="0"/>
              </a:spcBef>
              <a:buNone/>
            </a:pPr>
            <a:r>
              <a:rPr lang="en-US" sz="11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nior Director, EMEA Sales, Competitor #4</a:t>
            </a:r>
            <a:r>
              <a:rPr lang="en-US" sz="1200" dirty="0"/>
              <a:t>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33462E4-1B43-64CA-78A3-13AE7CA9D01F}"/>
              </a:ext>
            </a:extLst>
          </p:cNvPr>
          <p:cNvCxnSpPr/>
          <p:nvPr/>
        </p:nvCxnSpPr>
        <p:spPr bwMode="gray">
          <a:xfrm>
            <a:off x="9855773" y="3740854"/>
            <a:ext cx="1920240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744E999-F43B-5F42-46D3-EEB13D0AFD29}"/>
              </a:ext>
            </a:extLst>
          </p:cNvPr>
          <p:cNvCxnSpPr/>
          <p:nvPr/>
        </p:nvCxnSpPr>
        <p:spPr bwMode="gray">
          <a:xfrm>
            <a:off x="9855773" y="4709604"/>
            <a:ext cx="1920240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883F5E-94DF-430D-D347-5B98955DCBF4}"/>
              </a:ext>
            </a:extLst>
          </p:cNvPr>
          <p:cNvCxnSpPr/>
          <p:nvPr/>
        </p:nvCxnSpPr>
        <p:spPr bwMode="gray">
          <a:xfrm>
            <a:off x="9855773" y="5147754"/>
            <a:ext cx="1920240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6FB8B719-F927-CDFE-8028-19D9D5A210C2}"/>
              </a:ext>
            </a:extLst>
          </p:cNvPr>
          <p:cNvSpPr/>
          <p:nvPr/>
        </p:nvSpPr>
        <p:spPr bwMode="gray">
          <a:xfrm>
            <a:off x="10046135" y="2903110"/>
            <a:ext cx="1736247" cy="2077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Doesn’t prioritize ease of us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DE3E5C8-4DCE-397D-1207-E67F76B12A21}"/>
              </a:ext>
            </a:extLst>
          </p:cNvPr>
          <p:cNvSpPr/>
          <p:nvPr/>
        </p:nvSpPr>
        <p:spPr bwMode="gray">
          <a:xfrm>
            <a:off x="10046134" y="3156098"/>
            <a:ext cx="1736247" cy="2077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 dirty="0">
                <a:solidFill>
                  <a:schemeClr val="tx1"/>
                </a:solidFill>
              </a:rPr>
              <a:t>1+ non-Peer 2(x) products from Peer 2 famil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41D9A1A-740C-11FF-E92E-66143740E69E}"/>
              </a:ext>
            </a:extLst>
          </p:cNvPr>
          <p:cNvSpPr/>
          <p:nvPr/>
        </p:nvSpPr>
        <p:spPr bwMode="gray">
          <a:xfrm>
            <a:off x="10046135" y="3973266"/>
            <a:ext cx="1736247" cy="25131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Doesn’t prioritize ease of us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49B2492-D42A-D4EE-313D-B52CF52D6F78}"/>
              </a:ext>
            </a:extLst>
          </p:cNvPr>
          <p:cNvSpPr/>
          <p:nvPr/>
        </p:nvSpPr>
        <p:spPr bwMode="gray">
          <a:xfrm>
            <a:off x="10046134" y="4238954"/>
            <a:ext cx="1736247" cy="28406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 dirty="0">
                <a:solidFill>
                  <a:schemeClr val="tx1"/>
                </a:solidFill>
              </a:rPr>
              <a:t>No non-Peer 2(x) products from Peer 2 famil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0106C65-D8DC-023A-30B2-8D65289936C2}"/>
              </a:ext>
            </a:extLst>
          </p:cNvPr>
          <p:cNvSpPr/>
          <p:nvPr/>
        </p:nvSpPr>
        <p:spPr bwMode="gray">
          <a:xfrm>
            <a:off x="10046135" y="4731336"/>
            <a:ext cx="1736247" cy="2077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Prioritizes ease of us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03209A1-6DC1-006E-F216-622A159C2031}"/>
              </a:ext>
            </a:extLst>
          </p:cNvPr>
          <p:cNvSpPr/>
          <p:nvPr/>
        </p:nvSpPr>
        <p:spPr bwMode="gray">
          <a:xfrm>
            <a:off x="10046134" y="4917649"/>
            <a:ext cx="1736247" cy="2077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 dirty="0">
                <a:solidFill>
                  <a:schemeClr val="tx1"/>
                </a:solidFill>
              </a:rPr>
              <a:t>1+ non-Peer 2(x) products from Peer 2 family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93EB6632-ACE2-750D-0E5B-3274B4164B6A}"/>
              </a:ext>
            </a:extLst>
          </p:cNvPr>
          <p:cNvSpPr/>
          <p:nvPr/>
        </p:nvSpPr>
        <p:spPr bwMode="gray">
          <a:xfrm>
            <a:off x="9899449" y="2941270"/>
            <a:ext cx="137160" cy="137160"/>
          </a:xfrm>
          <a:prstGeom prst="ellipse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50C6857-0148-7929-51F4-F137082C93CB}"/>
              </a:ext>
            </a:extLst>
          </p:cNvPr>
          <p:cNvSpPr/>
          <p:nvPr/>
        </p:nvSpPr>
        <p:spPr bwMode="gray">
          <a:xfrm>
            <a:off x="9899449" y="3195377"/>
            <a:ext cx="137160" cy="137160"/>
          </a:xfrm>
          <a:prstGeom prst="ellipse">
            <a:avLst/>
          </a:prstGeom>
          <a:solidFill>
            <a:srgbClr val="F2DE8A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348D54A-C169-A558-7F05-923FFFF24E0F}"/>
              </a:ext>
            </a:extLst>
          </p:cNvPr>
          <p:cNvSpPr/>
          <p:nvPr/>
        </p:nvSpPr>
        <p:spPr bwMode="gray">
          <a:xfrm>
            <a:off x="9899449" y="4013811"/>
            <a:ext cx="137160" cy="137160"/>
          </a:xfrm>
          <a:prstGeom prst="ellipse">
            <a:avLst/>
          </a:prstGeom>
          <a:solidFill>
            <a:srgbClr val="D9ABC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D9ABC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95EE106E-B9AA-1FEB-AF42-2715F1B1265C}"/>
              </a:ext>
            </a:extLst>
          </p:cNvPr>
          <p:cNvSpPr/>
          <p:nvPr/>
        </p:nvSpPr>
        <p:spPr bwMode="gray">
          <a:xfrm>
            <a:off x="9899449" y="4267918"/>
            <a:ext cx="137160" cy="137160"/>
          </a:xfrm>
          <a:prstGeom prst="ellipse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D65C5CD1-8011-C7FC-4FC4-D85528C82FB3}"/>
              </a:ext>
            </a:extLst>
          </p:cNvPr>
          <p:cNvSpPr/>
          <p:nvPr/>
        </p:nvSpPr>
        <p:spPr bwMode="gray">
          <a:xfrm>
            <a:off x="9899449" y="5181629"/>
            <a:ext cx="137160" cy="137160"/>
          </a:xfrm>
          <a:prstGeom prst="ellipse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D9ABC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4CEC244E-543C-C496-2239-7AE162A6D146}"/>
              </a:ext>
            </a:extLst>
          </p:cNvPr>
          <p:cNvSpPr/>
          <p:nvPr/>
        </p:nvSpPr>
        <p:spPr bwMode="gray">
          <a:xfrm>
            <a:off x="9899449" y="5334136"/>
            <a:ext cx="137160" cy="137160"/>
          </a:xfrm>
          <a:prstGeom prst="ellipse">
            <a:avLst/>
          </a:prstGeom>
          <a:solidFill>
            <a:srgbClr val="C6AA3D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08D23099-4030-3D57-49EC-356220F86C11}"/>
              </a:ext>
            </a:extLst>
          </p:cNvPr>
          <p:cNvSpPr/>
          <p:nvPr/>
        </p:nvSpPr>
        <p:spPr bwMode="gray">
          <a:xfrm>
            <a:off x="9899449" y="4765892"/>
            <a:ext cx="137160" cy="137160"/>
          </a:xfrm>
          <a:prstGeom prst="ellipse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D8B7321-8890-5452-3D91-F453187E03F3}"/>
              </a:ext>
            </a:extLst>
          </p:cNvPr>
          <p:cNvSpPr/>
          <p:nvPr/>
        </p:nvSpPr>
        <p:spPr bwMode="gray">
          <a:xfrm>
            <a:off x="9899449" y="4950591"/>
            <a:ext cx="137160" cy="137160"/>
          </a:xfrm>
          <a:prstGeom prst="ellipse">
            <a:avLst/>
          </a:prstGeom>
          <a:solidFill>
            <a:srgbClr val="F2DE8A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24A45060-4DFF-0A4E-E034-A4091717C18C}"/>
              </a:ext>
            </a:extLst>
          </p:cNvPr>
          <p:cNvSpPr/>
          <p:nvPr/>
        </p:nvSpPr>
        <p:spPr bwMode="gray">
          <a:xfrm>
            <a:off x="10046135" y="5156514"/>
            <a:ext cx="1736247" cy="18881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>
                <a:solidFill>
                  <a:schemeClr val="tx1"/>
                </a:solidFill>
              </a:rPr>
              <a:t>Prioritizes ease of us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EE648A-1488-7FC2-488B-BEDC49265700}"/>
              </a:ext>
            </a:extLst>
          </p:cNvPr>
          <p:cNvSpPr/>
          <p:nvPr/>
        </p:nvSpPr>
        <p:spPr bwMode="gray">
          <a:xfrm>
            <a:off x="10046134" y="5348723"/>
            <a:ext cx="1736247" cy="18881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900" dirty="0">
                <a:solidFill>
                  <a:schemeClr val="tx1"/>
                </a:solidFill>
              </a:rPr>
              <a:t>No non-Peer 2(x) products from Peer 2 family</a:t>
            </a:r>
          </a:p>
        </p:txBody>
      </p:sp>
      <p:sp>
        <p:nvSpPr>
          <p:cNvPr id="29" name="btfpNotesBox251781">
            <a:extLst>
              <a:ext uri="{FF2B5EF4-FFF2-40B4-BE49-F238E27FC236}">
                <a16:creationId xmlns:a16="http://schemas.microsoft.com/office/drawing/2014/main" id="{FACEF20B-560B-9648-4521-23B0132F9AE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“Prioritizes ease of use” defined as rating “Easy to use / intuitive user interface” among top 3 KPC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Project Target Survey (N=665); Market participant interviews</a:t>
            </a:r>
          </a:p>
        </p:txBody>
      </p:sp>
      <p:sp>
        <p:nvSpPr>
          <p:cNvPr id="3" name="btfpBulletedList996670">
            <a:extLst>
              <a:ext uri="{FF2B5EF4-FFF2-40B4-BE49-F238E27FC236}">
                <a16:creationId xmlns:a16="http://schemas.microsoft.com/office/drawing/2014/main" id="{C5B4DC9F-93C1-0A4D-0CF5-8EBDCCE82008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330199" y="1937488"/>
            <a:ext cx="3483504" cy="3035053"/>
          </a:xfrm>
          <a:prstGeom prst="rect">
            <a:avLst/>
          </a:prstGeom>
          <a:solidFill>
            <a:srgbClr val="D6D6D6"/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1200" dirty="0"/>
              <a:t>Target has a strong right to win among </a:t>
            </a:r>
            <a:r>
              <a:rPr lang="en-US" sz="1200" b="1" dirty="0"/>
              <a:t>non-Enterprise customers </a:t>
            </a:r>
            <a:r>
              <a:rPr lang="en-US" sz="1200" dirty="0"/>
              <a:t>that </a:t>
            </a:r>
            <a:r>
              <a:rPr lang="en-US" sz="1200" b="1" dirty="0"/>
              <a:t>do not use other Peer 2 family products </a:t>
            </a:r>
            <a:r>
              <a:rPr lang="en-US" sz="1200" dirty="0"/>
              <a:t>and that </a:t>
            </a:r>
            <a:r>
              <a:rPr lang="en-US" sz="1200" b="1" dirty="0"/>
              <a:t>prioritize ease of use</a:t>
            </a:r>
          </a:p>
          <a:p>
            <a:pPr marL="406400" lvl="1" indent="-228600">
              <a:spcBef>
                <a:spcPts val="300"/>
              </a:spcBef>
              <a:buFont typeface="+mj-lt"/>
              <a:buAutoNum type="arabicPeriod"/>
            </a:pPr>
            <a:r>
              <a:rPr lang="en-US" sz="1000" dirty="0"/>
              <a:t>Enterprise customers most frequently select Peer 1</a:t>
            </a:r>
          </a:p>
          <a:p>
            <a:pPr marL="406400" lvl="1" indent="-228600">
              <a:spcBef>
                <a:spcPts val="300"/>
              </a:spcBef>
              <a:buFont typeface="+mj-lt"/>
              <a:buAutoNum type="arabicPeriod"/>
            </a:pPr>
            <a:r>
              <a:rPr lang="en-US" sz="1000" dirty="0"/>
              <a:t>Customers that use other Peer 2 family products are much more likely to adopt Peer 2(x)</a:t>
            </a:r>
          </a:p>
          <a:p>
            <a:pPr marL="406400" lvl="1" indent="-228600">
              <a:spcBef>
                <a:spcPts val="300"/>
              </a:spcBef>
              <a:buFont typeface="+mj-lt"/>
              <a:buAutoNum type="arabicPeriod"/>
            </a:pPr>
            <a:r>
              <a:rPr lang="en-US" sz="1000" dirty="0"/>
              <a:t>Target is selected more when customers value ease of use</a:t>
            </a:r>
          </a:p>
          <a:p>
            <a:pPr>
              <a:spcBef>
                <a:spcPts val="900"/>
              </a:spcBef>
            </a:pPr>
            <a:r>
              <a:rPr lang="en-US" sz="1200" dirty="0"/>
              <a:t>Target’s </a:t>
            </a:r>
            <a:r>
              <a:rPr lang="en-US" sz="1200" b="1" dirty="0"/>
              <a:t>competitive edge is reduced </a:t>
            </a:r>
            <a:r>
              <a:rPr lang="en-US" sz="1200" dirty="0"/>
              <a:t>for customers who either use other Peer 2 family products or do not value ease of use</a:t>
            </a:r>
          </a:p>
          <a:p>
            <a:pPr>
              <a:spcBef>
                <a:spcPts val="900"/>
              </a:spcBef>
            </a:pPr>
            <a:r>
              <a:rPr lang="en-US" sz="1200" dirty="0"/>
              <a:t>With customers that use other Peer 2 family products and do not prioritize ease of use, </a:t>
            </a:r>
            <a:r>
              <a:rPr lang="en-US" sz="1200" b="1" dirty="0"/>
              <a:t>Target is at a competitive disadvantage</a:t>
            </a:r>
          </a:p>
        </p:txBody>
      </p:sp>
      <p:grpSp>
        <p:nvGrpSpPr>
          <p:cNvPr id="30" name="btfpRunningAgenda2Level301519">
            <a:extLst>
              <a:ext uri="{FF2B5EF4-FFF2-40B4-BE49-F238E27FC236}">
                <a16:creationId xmlns:a16="http://schemas.microsoft.com/office/drawing/2014/main" id="{9F525EAE-FC2B-E5F5-060C-2280499DC7FD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945064"/>
            <a:ext cx="6455992" cy="257442"/>
            <a:chOff x="0" y="876300"/>
            <a:chExt cx="6455992" cy="257442"/>
          </a:xfrm>
        </p:grpSpPr>
        <p:sp>
          <p:nvSpPr>
            <p:cNvPr id="38" name="btfpRunningAgenda2LevelBarLeft301519">
              <a:extLst>
                <a:ext uri="{FF2B5EF4-FFF2-40B4-BE49-F238E27FC236}">
                  <a16:creationId xmlns:a16="http://schemas.microsoft.com/office/drawing/2014/main" id="{70DD2ADE-9BD2-BDB8-B4A4-AED8CAD8DCF3}"/>
                </a:ext>
              </a:extLst>
            </p:cNvPr>
            <p:cNvSpPr/>
            <p:nvPr/>
          </p:nvSpPr>
          <p:spPr bwMode="gray">
            <a:xfrm>
              <a:off x="0" y="876300"/>
              <a:ext cx="4038186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15707 w 2715707"/>
                <a:gd name="connsiteY0" fmla="*/ 0 h 257442"/>
                <a:gd name="connsiteX1" fmla="*/ 2508701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715707 w 2715707"/>
                <a:gd name="connsiteY0" fmla="*/ 0 h 257442"/>
                <a:gd name="connsiteX1" fmla="*/ 2660986 w 2715707"/>
                <a:gd name="connsiteY1" fmla="*/ 257442 h 257442"/>
                <a:gd name="connsiteX2" fmla="*/ 0 w 2715707"/>
                <a:gd name="connsiteY2" fmla="*/ 257442 h 257442"/>
                <a:gd name="connsiteX3" fmla="*/ 0 w 2715707"/>
                <a:gd name="connsiteY3" fmla="*/ 0 h 257442"/>
                <a:gd name="connsiteX0" fmla="*/ 2884023 w 2884023"/>
                <a:gd name="connsiteY0" fmla="*/ 0 h 257442"/>
                <a:gd name="connsiteX1" fmla="*/ 2660986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2884023 w 2884023"/>
                <a:gd name="connsiteY0" fmla="*/ 0 h 257442"/>
                <a:gd name="connsiteX1" fmla="*/ 2829302 w 2884023"/>
                <a:gd name="connsiteY1" fmla="*/ 257442 h 257442"/>
                <a:gd name="connsiteX2" fmla="*/ 0 w 2884023"/>
                <a:gd name="connsiteY2" fmla="*/ 257442 h 257442"/>
                <a:gd name="connsiteX3" fmla="*/ 0 w 2884023"/>
                <a:gd name="connsiteY3" fmla="*/ 0 h 257442"/>
                <a:gd name="connsiteX0" fmla="*/ 3052337 w 3052337"/>
                <a:gd name="connsiteY0" fmla="*/ 0 h 257442"/>
                <a:gd name="connsiteX1" fmla="*/ 2829302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052337 w 3052337"/>
                <a:gd name="connsiteY0" fmla="*/ 0 h 257442"/>
                <a:gd name="connsiteX1" fmla="*/ 2997616 w 3052337"/>
                <a:gd name="connsiteY1" fmla="*/ 257442 h 257442"/>
                <a:gd name="connsiteX2" fmla="*/ 0 w 3052337"/>
                <a:gd name="connsiteY2" fmla="*/ 257442 h 257442"/>
                <a:gd name="connsiteX3" fmla="*/ 0 w 3052337"/>
                <a:gd name="connsiteY3" fmla="*/ 0 h 257442"/>
                <a:gd name="connsiteX0" fmla="*/ 3220653 w 3220653"/>
                <a:gd name="connsiteY0" fmla="*/ 0 h 257442"/>
                <a:gd name="connsiteX1" fmla="*/ 2997616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220653 w 3220653"/>
                <a:gd name="connsiteY0" fmla="*/ 0 h 257442"/>
                <a:gd name="connsiteX1" fmla="*/ 3165932 w 3220653"/>
                <a:gd name="connsiteY1" fmla="*/ 257442 h 257442"/>
                <a:gd name="connsiteX2" fmla="*/ 0 w 3220653"/>
                <a:gd name="connsiteY2" fmla="*/ 257442 h 257442"/>
                <a:gd name="connsiteX3" fmla="*/ 0 w 3220653"/>
                <a:gd name="connsiteY3" fmla="*/ 0 h 257442"/>
                <a:gd name="connsiteX0" fmla="*/ 3380954 w 3380954"/>
                <a:gd name="connsiteY0" fmla="*/ 0 h 257442"/>
                <a:gd name="connsiteX1" fmla="*/ 31659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4 w 3380954"/>
                <a:gd name="connsiteY0" fmla="*/ 0 h 257442"/>
                <a:gd name="connsiteX1" fmla="*/ 3326232 w 3380954"/>
                <a:gd name="connsiteY1" fmla="*/ 257442 h 257442"/>
                <a:gd name="connsiteX2" fmla="*/ 0 w 3380954"/>
                <a:gd name="connsiteY2" fmla="*/ 257442 h 257442"/>
                <a:gd name="connsiteX3" fmla="*/ 0 w 3380954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380955 w 3380955"/>
                <a:gd name="connsiteY0" fmla="*/ 0 h 257442"/>
                <a:gd name="connsiteX1" fmla="*/ 3326233 w 3380955"/>
                <a:gd name="connsiteY1" fmla="*/ 257442 h 257442"/>
                <a:gd name="connsiteX2" fmla="*/ 0 w 3380955"/>
                <a:gd name="connsiteY2" fmla="*/ 257442 h 257442"/>
                <a:gd name="connsiteX3" fmla="*/ 1 w 3380955"/>
                <a:gd name="connsiteY3" fmla="*/ 0 h 257442"/>
                <a:gd name="connsiteX0" fmla="*/ 3549269 w 3549269"/>
                <a:gd name="connsiteY0" fmla="*/ 0 h 257442"/>
                <a:gd name="connsiteX1" fmla="*/ 3326233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0 w 3549269"/>
                <a:gd name="connsiteY2" fmla="*/ 257442 h 257442"/>
                <a:gd name="connsiteX3" fmla="*/ 1 w 3549269"/>
                <a:gd name="connsiteY3" fmla="*/ 0 h 257442"/>
                <a:gd name="connsiteX0" fmla="*/ 3549268 w 3549268"/>
                <a:gd name="connsiteY0" fmla="*/ 0 h 257442"/>
                <a:gd name="connsiteX1" fmla="*/ 3494547 w 3549268"/>
                <a:gd name="connsiteY1" fmla="*/ 257442 h 257442"/>
                <a:gd name="connsiteX2" fmla="*/ 0 w 3549268"/>
                <a:gd name="connsiteY2" fmla="*/ 257442 h 257442"/>
                <a:gd name="connsiteX3" fmla="*/ 0 w 3549268"/>
                <a:gd name="connsiteY3" fmla="*/ 0 h 257442"/>
                <a:gd name="connsiteX0" fmla="*/ 3549269 w 3549269"/>
                <a:gd name="connsiteY0" fmla="*/ 0 h 257442"/>
                <a:gd name="connsiteX1" fmla="*/ 3494548 w 3549269"/>
                <a:gd name="connsiteY1" fmla="*/ 257442 h 257442"/>
                <a:gd name="connsiteX2" fmla="*/ 1 w 3549269"/>
                <a:gd name="connsiteY2" fmla="*/ 257442 h 257442"/>
                <a:gd name="connsiteX3" fmla="*/ 0 w 3549269"/>
                <a:gd name="connsiteY3" fmla="*/ 0 h 257442"/>
                <a:gd name="connsiteX0" fmla="*/ 3717585 w 3717585"/>
                <a:gd name="connsiteY0" fmla="*/ 0 h 257442"/>
                <a:gd name="connsiteX1" fmla="*/ 3494548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5 w 3717585"/>
                <a:gd name="connsiteY0" fmla="*/ 0 h 257442"/>
                <a:gd name="connsiteX1" fmla="*/ 3662864 w 3717585"/>
                <a:gd name="connsiteY1" fmla="*/ 257442 h 257442"/>
                <a:gd name="connsiteX2" fmla="*/ 1 w 3717585"/>
                <a:gd name="connsiteY2" fmla="*/ 257442 h 257442"/>
                <a:gd name="connsiteX3" fmla="*/ 0 w 3717585"/>
                <a:gd name="connsiteY3" fmla="*/ 0 h 257442"/>
                <a:gd name="connsiteX0" fmla="*/ 3717584 w 3717584"/>
                <a:gd name="connsiteY0" fmla="*/ 0 h 257442"/>
                <a:gd name="connsiteX1" fmla="*/ 3662863 w 3717584"/>
                <a:gd name="connsiteY1" fmla="*/ 257442 h 257442"/>
                <a:gd name="connsiteX2" fmla="*/ 0 w 3717584"/>
                <a:gd name="connsiteY2" fmla="*/ 257442 h 257442"/>
                <a:gd name="connsiteX3" fmla="*/ 0 w 3717584"/>
                <a:gd name="connsiteY3" fmla="*/ 0 h 257442"/>
                <a:gd name="connsiteX0" fmla="*/ 3877884 w 3877884"/>
                <a:gd name="connsiteY0" fmla="*/ 0 h 257442"/>
                <a:gd name="connsiteX1" fmla="*/ 36628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4 w 3877884"/>
                <a:gd name="connsiteY0" fmla="*/ 0 h 257442"/>
                <a:gd name="connsiteX1" fmla="*/ 3823163 w 3877884"/>
                <a:gd name="connsiteY1" fmla="*/ 257442 h 257442"/>
                <a:gd name="connsiteX2" fmla="*/ 0 w 3877884"/>
                <a:gd name="connsiteY2" fmla="*/ 257442 h 257442"/>
                <a:gd name="connsiteX3" fmla="*/ 0 w 3877884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3877885 w 3877885"/>
                <a:gd name="connsiteY0" fmla="*/ 0 h 257442"/>
                <a:gd name="connsiteX1" fmla="*/ 3823164 w 3877885"/>
                <a:gd name="connsiteY1" fmla="*/ 257442 h 257442"/>
                <a:gd name="connsiteX2" fmla="*/ 0 w 3877885"/>
                <a:gd name="connsiteY2" fmla="*/ 257442 h 257442"/>
                <a:gd name="connsiteX3" fmla="*/ 1 w 3877885"/>
                <a:gd name="connsiteY3" fmla="*/ 0 h 257442"/>
                <a:gd name="connsiteX0" fmla="*/ 4038186 w 4038186"/>
                <a:gd name="connsiteY0" fmla="*/ 0 h 257442"/>
                <a:gd name="connsiteX1" fmla="*/ 38231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1 w 4038186"/>
                <a:gd name="connsiteY3" fmla="*/ 0 h 257442"/>
                <a:gd name="connsiteX0" fmla="*/ 4038186 w 4038186"/>
                <a:gd name="connsiteY0" fmla="*/ 0 h 257442"/>
                <a:gd name="connsiteX1" fmla="*/ 3983464 w 4038186"/>
                <a:gd name="connsiteY1" fmla="*/ 257442 h 257442"/>
                <a:gd name="connsiteX2" fmla="*/ 0 w 4038186"/>
                <a:gd name="connsiteY2" fmla="*/ 257442 h 257442"/>
                <a:gd name="connsiteX3" fmla="*/ 0 w 40381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38186" h="257442">
                  <a:moveTo>
                    <a:pt x="4038186" y="0"/>
                  </a:moveTo>
                  <a:lnTo>
                    <a:pt x="398346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RunningAgenda2LevelTextLeft301519">
              <a:extLst>
                <a:ext uri="{FF2B5EF4-FFF2-40B4-BE49-F238E27FC236}">
                  <a16:creationId xmlns:a16="http://schemas.microsoft.com/office/drawing/2014/main" id="{DD025020-7369-6546-D49C-79D3C8607AA0}"/>
                </a:ext>
              </a:extLst>
            </p:cNvPr>
            <p:cNvSpPr txBox="1"/>
            <p:nvPr/>
          </p:nvSpPr>
          <p:spPr bwMode="gray">
            <a:xfrm>
              <a:off x="0" y="876300"/>
              <a:ext cx="398346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titive landscape</a:t>
              </a:r>
            </a:p>
          </p:txBody>
        </p:sp>
        <p:sp>
          <p:nvSpPr>
            <p:cNvPr id="41" name="btfpRunningAgenda2LevelBarRight301519">
              <a:extLst>
                <a:ext uri="{FF2B5EF4-FFF2-40B4-BE49-F238E27FC236}">
                  <a16:creationId xmlns:a16="http://schemas.microsoft.com/office/drawing/2014/main" id="{D2397BAB-BF65-929C-8645-67B8B06E99D9}"/>
                </a:ext>
              </a:extLst>
            </p:cNvPr>
            <p:cNvSpPr/>
            <p:nvPr/>
          </p:nvSpPr>
          <p:spPr bwMode="gray">
            <a:xfrm>
              <a:off x="3903341" y="876300"/>
              <a:ext cx="2552651" cy="257442"/>
            </a:xfrm>
            <a:custGeom>
              <a:avLst/>
              <a:gdLst>
                <a:gd name="connsiteX0" fmla="*/ 942786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42786 w 2313135"/>
                <a:gd name="connsiteY0" fmla="*/ 0 h 257442"/>
                <a:gd name="connsiteX1" fmla="*/ 888065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4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880543 w 1880543"/>
                <a:gd name="connsiteY0" fmla="*/ 0 h 257442"/>
                <a:gd name="connsiteX1" fmla="*/ 16655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720243 w 1825822"/>
                <a:gd name="connsiteY0" fmla="*/ 0 h 257442"/>
                <a:gd name="connsiteX1" fmla="*/ 1825822 w 1825822"/>
                <a:gd name="connsiteY1" fmla="*/ 257442 h 257442"/>
                <a:gd name="connsiteX2" fmla="*/ 0 w 1825822"/>
                <a:gd name="connsiteY2" fmla="*/ 257442 h 257442"/>
                <a:gd name="connsiteX3" fmla="*/ 54721 w 1825822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720242 w 1720242"/>
                <a:gd name="connsiteY0" fmla="*/ 0 h 257442"/>
                <a:gd name="connsiteX1" fmla="*/ 1665521 w 1720242"/>
                <a:gd name="connsiteY1" fmla="*/ 257442 h 257442"/>
                <a:gd name="connsiteX2" fmla="*/ 0 w 1720242"/>
                <a:gd name="connsiteY2" fmla="*/ 257442 h 257442"/>
                <a:gd name="connsiteX3" fmla="*/ 54720 w 1720242"/>
                <a:gd name="connsiteY3" fmla="*/ 0 h 257442"/>
                <a:gd name="connsiteX0" fmla="*/ 1880542 w 1880542"/>
                <a:gd name="connsiteY0" fmla="*/ 0 h 257442"/>
                <a:gd name="connsiteX1" fmla="*/ 16655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2 w 1880542"/>
                <a:gd name="connsiteY0" fmla="*/ 0 h 257442"/>
                <a:gd name="connsiteX1" fmla="*/ 1825821 w 1880542"/>
                <a:gd name="connsiteY1" fmla="*/ 257442 h 257442"/>
                <a:gd name="connsiteX2" fmla="*/ 0 w 1880542"/>
                <a:gd name="connsiteY2" fmla="*/ 257442 h 257442"/>
                <a:gd name="connsiteX3" fmla="*/ 54720 w 1880542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1 w 1880543"/>
                <a:gd name="connsiteY3" fmla="*/ 0 h 257442"/>
                <a:gd name="connsiteX0" fmla="*/ 1880543 w 1880543"/>
                <a:gd name="connsiteY0" fmla="*/ 0 h 257442"/>
                <a:gd name="connsiteX1" fmla="*/ 1825822 w 1880543"/>
                <a:gd name="connsiteY1" fmla="*/ 257442 h 257442"/>
                <a:gd name="connsiteX2" fmla="*/ 0 w 1880543"/>
                <a:gd name="connsiteY2" fmla="*/ 257442 h 257442"/>
                <a:gd name="connsiteX3" fmla="*/ 54722 w 1880543"/>
                <a:gd name="connsiteY3" fmla="*/ 0 h 257442"/>
                <a:gd name="connsiteX0" fmla="*/ 2040844 w 2040844"/>
                <a:gd name="connsiteY0" fmla="*/ 0 h 257442"/>
                <a:gd name="connsiteX1" fmla="*/ 18258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2 w 2040844"/>
                <a:gd name="connsiteY3" fmla="*/ 0 h 257442"/>
                <a:gd name="connsiteX0" fmla="*/ 2040844 w 2040844"/>
                <a:gd name="connsiteY0" fmla="*/ 0 h 257442"/>
                <a:gd name="connsiteX1" fmla="*/ 1986122 w 2040844"/>
                <a:gd name="connsiteY1" fmla="*/ 257442 h 257442"/>
                <a:gd name="connsiteX2" fmla="*/ 0 w 2040844"/>
                <a:gd name="connsiteY2" fmla="*/ 257442 h 257442"/>
                <a:gd name="connsiteX3" fmla="*/ 54721 w 2040844"/>
                <a:gd name="connsiteY3" fmla="*/ 0 h 257442"/>
                <a:gd name="connsiteX0" fmla="*/ 2218776 w 2218776"/>
                <a:gd name="connsiteY0" fmla="*/ 0 h 257442"/>
                <a:gd name="connsiteX1" fmla="*/ 1986122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2218776 w 2218776"/>
                <a:gd name="connsiteY0" fmla="*/ 0 h 257442"/>
                <a:gd name="connsiteX1" fmla="*/ 2164055 w 2218776"/>
                <a:gd name="connsiteY1" fmla="*/ 257442 h 257442"/>
                <a:gd name="connsiteX2" fmla="*/ 0 w 2218776"/>
                <a:gd name="connsiteY2" fmla="*/ 257442 h 257442"/>
                <a:gd name="connsiteX3" fmla="*/ 54721 w 2218776"/>
                <a:gd name="connsiteY3" fmla="*/ 0 h 257442"/>
                <a:gd name="connsiteX0" fmla="*/ 950801 w 2164055"/>
                <a:gd name="connsiteY0" fmla="*/ 0 h 257442"/>
                <a:gd name="connsiteX1" fmla="*/ 2164055 w 2164055"/>
                <a:gd name="connsiteY1" fmla="*/ 257442 h 257442"/>
                <a:gd name="connsiteX2" fmla="*/ 0 w 2164055"/>
                <a:gd name="connsiteY2" fmla="*/ 257442 h 257442"/>
                <a:gd name="connsiteX3" fmla="*/ 54721 w 2164055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5472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968434 w 968434"/>
                <a:gd name="connsiteY0" fmla="*/ 0 h 257442"/>
                <a:gd name="connsiteX1" fmla="*/ 727828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4 w 968434"/>
                <a:gd name="connsiteY0" fmla="*/ 0 h 257442"/>
                <a:gd name="connsiteX1" fmla="*/ 913712 w 968434"/>
                <a:gd name="connsiteY1" fmla="*/ 257442 h 257442"/>
                <a:gd name="connsiteX2" fmla="*/ 0 w 968434"/>
                <a:gd name="connsiteY2" fmla="*/ 257442 h 257442"/>
                <a:gd name="connsiteX3" fmla="*/ 54721 w 968434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968435 w 968435"/>
                <a:gd name="connsiteY0" fmla="*/ 0 h 257442"/>
                <a:gd name="connsiteX1" fmla="*/ 913713 w 968435"/>
                <a:gd name="connsiteY1" fmla="*/ 257442 h 257442"/>
                <a:gd name="connsiteX2" fmla="*/ 0 w 968435"/>
                <a:gd name="connsiteY2" fmla="*/ 257442 h 257442"/>
                <a:gd name="connsiteX3" fmla="*/ 54722 w 968435"/>
                <a:gd name="connsiteY3" fmla="*/ 0 h 257442"/>
                <a:gd name="connsiteX0" fmla="*/ 1136750 w 1136750"/>
                <a:gd name="connsiteY0" fmla="*/ 0 h 257442"/>
                <a:gd name="connsiteX1" fmla="*/ 913713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2 w 1136750"/>
                <a:gd name="connsiteY3" fmla="*/ 0 h 257442"/>
                <a:gd name="connsiteX0" fmla="*/ 1136750 w 1136750"/>
                <a:gd name="connsiteY0" fmla="*/ 0 h 257442"/>
                <a:gd name="connsiteX1" fmla="*/ 1082028 w 1136750"/>
                <a:gd name="connsiteY1" fmla="*/ 257442 h 257442"/>
                <a:gd name="connsiteX2" fmla="*/ 0 w 1136750"/>
                <a:gd name="connsiteY2" fmla="*/ 257442 h 257442"/>
                <a:gd name="connsiteX3" fmla="*/ 54721 w 1136750"/>
                <a:gd name="connsiteY3" fmla="*/ 0 h 257442"/>
                <a:gd name="connsiteX0" fmla="*/ 1305064 w 1305064"/>
                <a:gd name="connsiteY0" fmla="*/ 0 h 257442"/>
                <a:gd name="connsiteX1" fmla="*/ 1082028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305064 w 1305064"/>
                <a:gd name="connsiteY0" fmla="*/ 0 h 257442"/>
                <a:gd name="connsiteX1" fmla="*/ 1250343 w 1305064"/>
                <a:gd name="connsiteY1" fmla="*/ 257442 h 257442"/>
                <a:gd name="connsiteX2" fmla="*/ 0 w 1305064"/>
                <a:gd name="connsiteY2" fmla="*/ 257442 h 257442"/>
                <a:gd name="connsiteX3" fmla="*/ 54721 w 1305064"/>
                <a:gd name="connsiteY3" fmla="*/ 0 h 257442"/>
                <a:gd name="connsiteX0" fmla="*/ 1473380 w 1473380"/>
                <a:gd name="connsiteY0" fmla="*/ 0 h 257442"/>
                <a:gd name="connsiteX1" fmla="*/ 1250343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473380 w 1473380"/>
                <a:gd name="connsiteY0" fmla="*/ 0 h 257442"/>
                <a:gd name="connsiteX1" fmla="*/ 1418659 w 1473380"/>
                <a:gd name="connsiteY1" fmla="*/ 257442 h 257442"/>
                <a:gd name="connsiteX2" fmla="*/ 0 w 1473380"/>
                <a:gd name="connsiteY2" fmla="*/ 257442 h 257442"/>
                <a:gd name="connsiteX3" fmla="*/ 54721 w 1473380"/>
                <a:gd name="connsiteY3" fmla="*/ 0 h 257442"/>
                <a:gd name="connsiteX0" fmla="*/ 1633680 w 1633680"/>
                <a:gd name="connsiteY0" fmla="*/ 0 h 257442"/>
                <a:gd name="connsiteX1" fmla="*/ 14186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886955 w 1886955"/>
                <a:gd name="connsiteY0" fmla="*/ 0 h 257442"/>
                <a:gd name="connsiteX1" fmla="*/ 1578959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1886955 w 1886955"/>
                <a:gd name="connsiteY0" fmla="*/ 0 h 257442"/>
                <a:gd name="connsiteX1" fmla="*/ 1832234 w 1886955"/>
                <a:gd name="connsiteY1" fmla="*/ 257442 h 257442"/>
                <a:gd name="connsiteX2" fmla="*/ 0 w 1886955"/>
                <a:gd name="connsiteY2" fmla="*/ 257442 h 257442"/>
                <a:gd name="connsiteX3" fmla="*/ 54721 w 1886955"/>
                <a:gd name="connsiteY3" fmla="*/ 0 h 257442"/>
                <a:gd name="connsiteX0" fmla="*/ 2047255 w 2047255"/>
                <a:gd name="connsiteY0" fmla="*/ 0 h 257442"/>
                <a:gd name="connsiteX1" fmla="*/ 18322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215570 w 2215570"/>
                <a:gd name="connsiteY0" fmla="*/ 0 h 257442"/>
                <a:gd name="connsiteX1" fmla="*/ 1992534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0 w 2215570"/>
                <a:gd name="connsiteY0" fmla="*/ 0 h 257442"/>
                <a:gd name="connsiteX1" fmla="*/ 2160848 w 2215570"/>
                <a:gd name="connsiteY1" fmla="*/ 257442 h 257442"/>
                <a:gd name="connsiteX2" fmla="*/ 0 w 2215570"/>
                <a:gd name="connsiteY2" fmla="*/ 257442 h 257442"/>
                <a:gd name="connsiteX3" fmla="*/ 54721 w 2215570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215571 w 2215571"/>
                <a:gd name="connsiteY0" fmla="*/ 0 h 257442"/>
                <a:gd name="connsiteX1" fmla="*/ 2160849 w 2215571"/>
                <a:gd name="connsiteY1" fmla="*/ 257442 h 257442"/>
                <a:gd name="connsiteX2" fmla="*/ 0 w 2215571"/>
                <a:gd name="connsiteY2" fmla="*/ 257442 h 257442"/>
                <a:gd name="connsiteX3" fmla="*/ 54722 w 2215571"/>
                <a:gd name="connsiteY3" fmla="*/ 0 h 257442"/>
                <a:gd name="connsiteX0" fmla="*/ 2383887 w 2383887"/>
                <a:gd name="connsiteY0" fmla="*/ 0 h 257442"/>
                <a:gd name="connsiteX1" fmla="*/ 2160849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7 w 2383887"/>
                <a:gd name="connsiteY0" fmla="*/ 0 h 257442"/>
                <a:gd name="connsiteX1" fmla="*/ 2329166 w 2383887"/>
                <a:gd name="connsiteY1" fmla="*/ 257442 h 257442"/>
                <a:gd name="connsiteX2" fmla="*/ 0 w 2383887"/>
                <a:gd name="connsiteY2" fmla="*/ 257442 h 257442"/>
                <a:gd name="connsiteX3" fmla="*/ 54722 w 2383887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1 w 2383886"/>
                <a:gd name="connsiteY3" fmla="*/ 0 h 257442"/>
                <a:gd name="connsiteX0" fmla="*/ 2383886 w 2383886"/>
                <a:gd name="connsiteY0" fmla="*/ 0 h 257442"/>
                <a:gd name="connsiteX1" fmla="*/ 2329165 w 2383886"/>
                <a:gd name="connsiteY1" fmla="*/ 257442 h 257442"/>
                <a:gd name="connsiteX2" fmla="*/ 0 w 2383886"/>
                <a:gd name="connsiteY2" fmla="*/ 257442 h 257442"/>
                <a:gd name="connsiteX3" fmla="*/ 54720 w 2383886"/>
                <a:gd name="connsiteY3" fmla="*/ 0 h 257442"/>
                <a:gd name="connsiteX0" fmla="*/ 2552200 w 2552200"/>
                <a:gd name="connsiteY0" fmla="*/ 0 h 257442"/>
                <a:gd name="connsiteX1" fmla="*/ 2329165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2 w 2552201"/>
                <a:gd name="connsiteY3" fmla="*/ 0 h 257442"/>
                <a:gd name="connsiteX0" fmla="*/ 2712502 w 2712502"/>
                <a:gd name="connsiteY0" fmla="*/ 0 h 257442"/>
                <a:gd name="connsiteX1" fmla="*/ 24974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2 w 2712502"/>
                <a:gd name="connsiteY3" fmla="*/ 0 h 257442"/>
                <a:gd name="connsiteX0" fmla="*/ 2712502 w 2712502"/>
                <a:gd name="connsiteY0" fmla="*/ 0 h 257442"/>
                <a:gd name="connsiteX1" fmla="*/ 2657780 w 2712502"/>
                <a:gd name="connsiteY1" fmla="*/ 257442 h 257442"/>
                <a:gd name="connsiteX2" fmla="*/ 0 w 2712502"/>
                <a:gd name="connsiteY2" fmla="*/ 257442 h 257442"/>
                <a:gd name="connsiteX3" fmla="*/ 54721 w 2712502"/>
                <a:gd name="connsiteY3" fmla="*/ 0 h 257442"/>
                <a:gd name="connsiteX0" fmla="*/ 2552201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1 w 2657780"/>
                <a:gd name="connsiteY3" fmla="*/ 0 h 257442"/>
                <a:gd name="connsiteX0" fmla="*/ 2552201 w 2552201"/>
                <a:gd name="connsiteY0" fmla="*/ 0 h 257442"/>
                <a:gd name="connsiteX1" fmla="*/ 2497480 w 2552201"/>
                <a:gd name="connsiteY1" fmla="*/ 257442 h 257442"/>
                <a:gd name="connsiteX2" fmla="*/ 0 w 2552201"/>
                <a:gd name="connsiteY2" fmla="*/ 257442 h 257442"/>
                <a:gd name="connsiteX3" fmla="*/ 54721 w 2552201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552200 w 2552200"/>
                <a:gd name="connsiteY0" fmla="*/ 0 h 257442"/>
                <a:gd name="connsiteX1" fmla="*/ 2497479 w 2552200"/>
                <a:gd name="connsiteY1" fmla="*/ 257442 h 257442"/>
                <a:gd name="connsiteX2" fmla="*/ 0 w 2552200"/>
                <a:gd name="connsiteY2" fmla="*/ 257442 h 257442"/>
                <a:gd name="connsiteX3" fmla="*/ 54720 w 2552200"/>
                <a:gd name="connsiteY3" fmla="*/ 0 h 257442"/>
                <a:gd name="connsiteX0" fmla="*/ 2712500 w 2712500"/>
                <a:gd name="connsiteY0" fmla="*/ 0 h 257442"/>
                <a:gd name="connsiteX1" fmla="*/ 24974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0 w 2712500"/>
                <a:gd name="connsiteY0" fmla="*/ 0 h 257442"/>
                <a:gd name="connsiteX1" fmla="*/ 2657779 w 2712500"/>
                <a:gd name="connsiteY1" fmla="*/ 257442 h 257442"/>
                <a:gd name="connsiteX2" fmla="*/ 0 w 2712500"/>
                <a:gd name="connsiteY2" fmla="*/ 257442 h 257442"/>
                <a:gd name="connsiteX3" fmla="*/ 54720 w 2712500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1 w 2712501"/>
                <a:gd name="connsiteY3" fmla="*/ 0 h 257442"/>
                <a:gd name="connsiteX0" fmla="*/ 2712501 w 2712501"/>
                <a:gd name="connsiteY0" fmla="*/ 0 h 257442"/>
                <a:gd name="connsiteX1" fmla="*/ 2657780 w 2712501"/>
                <a:gd name="connsiteY1" fmla="*/ 257442 h 257442"/>
                <a:gd name="connsiteX2" fmla="*/ 0 w 2712501"/>
                <a:gd name="connsiteY2" fmla="*/ 257442 h 257442"/>
                <a:gd name="connsiteX3" fmla="*/ 54722 w 2712501"/>
                <a:gd name="connsiteY3" fmla="*/ 0 h 257442"/>
                <a:gd name="connsiteX0" fmla="*/ 950802 w 2657780"/>
                <a:gd name="connsiteY0" fmla="*/ 0 h 257442"/>
                <a:gd name="connsiteX1" fmla="*/ 2657780 w 2657780"/>
                <a:gd name="connsiteY1" fmla="*/ 257442 h 257442"/>
                <a:gd name="connsiteX2" fmla="*/ 0 w 2657780"/>
                <a:gd name="connsiteY2" fmla="*/ 257442 h 257442"/>
                <a:gd name="connsiteX3" fmla="*/ 54722 w 265778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0 w 950802"/>
                <a:gd name="connsiteY2" fmla="*/ 257442 h 257442"/>
                <a:gd name="connsiteX3" fmla="*/ 54722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01006 w 1701006"/>
                <a:gd name="connsiteY0" fmla="*/ 0 h 257442"/>
                <a:gd name="connsiteX1" fmla="*/ 1393011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6 w 1701006"/>
                <a:gd name="connsiteY0" fmla="*/ 0 h 257442"/>
                <a:gd name="connsiteX1" fmla="*/ 1646285 w 1701006"/>
                <a:gd name="connsiteY1" fmla="*/ 257442 h 257442"/>
                <a:gd name="connsiteX2" fmla="*/ 0 w 1701006"/>
                <a:gd name="connsiteY2" fmla="*/ 257442 h 257442"/>
                <a:gd name="connsiteX3" fmla="*/ 54720 w 1701006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1 w 1701007"/>
                <a:gd name="connsiteY3" fmla="*/ 0 h 257442"/>
                <a:gd name="connsiteX0" fmla="*/ 1701007 w 1701007"/>
                <a:gd name="connsiteY0" fmla="*/ 0 h 257442"/>
                <a:gd name="connsiteX1" fmla="*/ 1646286 w 1701007"/>
                <a:gd name="connsiteY1" fmla="*/ 257442 h 257442"/>
                <a:gd name="connsiteX2" fmla="*/ 0 w 1701007"/>
                <a:gd name="connsiteY2" fmla="*/ 257442 h 257442"/>
                <a:gd name="connsiteX3" fmla="*/ 54722 w 1701007"/>
                <a:gd name="connsiteY3" fmla="*/ 0 h 257442"/>
                <a:gd name="connsiteX0" fmla="*/ 1876184 w 1876184"/>
                <a:gd name="connsiteY0" fmla="*/ 0 h 257442"/>
                <a:gd name="connsiteX1" fmla="*/ 1646286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2 w 1876184"/>
                <a:gd name="connsiteY3" fmla="*/ 0 h 257442"/>
                <a:gd name="connsiteX0" fmla="*/ 1876184 w 1876184"/>
                <a:gd name="connsiteY0" fmla="*/ 0 h 257442"/>
                <a:gd name="connsiteX1" fmla="*/ 1821462 w 1876184"/>
                <a:gd name="connsiteY1" fmla="*/ 257442 h 257442"/>
                <a:gd name="connsiteX2" fmla="*/ 0 w 1876184"/>
                <a:gd name="connsiteY2" fmla="*/ 257442 h 257442"/>
                <a:gd name="connsiteX3" fmla="*/ 54721 w 1876184"/>
                <a:gd name="connsiteY3" fmla="*/ 0 h 257442"/>
                <a:gd name="connsiteX0" fmla="*/ 2145487 w 2145487"/>
                <a:gd name="connsiteY0" fmla="*/ 0 h 257442"/>
                <a:gd name="connsiteX1" fmla="*/ 1821462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145487 w 2145487"/>
                <a:gd name="connsiteY0" fmla="*/ 0 h 257442"/>
                <a:gd name="connsiteX1" fmla="*/ 2090766 w 2145487"/>
                <a:gd name="connsiteY1" fmla="*/ 257442 h 257442"/>
                <a:gd name="connsiteX2" fmla="*/ 0 w 2145487"/>
                <a:gd name="connsiteY2" fmla="*/ 257442 h 257442"/>
                <a:gd name="connsiteX3" fmla="*/ 54721 w 2145487"/>
                <a:gd name="connsiteY3" fmla="*/ 0 h 257442"/>
                <a:gd name="connsiteX0" fmla="*/ 2305787 w 2305787"/>
                <a:gd name="connsiteY0" fmla="*/ 0 h 257442"/>
                <a:gd name="connsiteX1" fmla="*/ 20907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305787 w 2305787"/>
                <a:gd name="connsiteY0" fmla="*/ 0 h 257442"/>
                <a:gd name="connsiteX1" fmla="*/ 2251066 w 2305787"/>
                <a:gd name="connsiteY1" fmla="*/ 257442 h 257442"/>
                <a:gd name="connsiteX2" fmla="*/ 0 w 2305787"/>
                <a:gd name="connsiteY2" fmla="*/ 257442 h 257442"/>
                <a:gd name="connsiteX3" fmla="*/ 54721 w 2305787"/>
                <a:gd name="connsiteY3" fmla="*/ 0 h 257442"/>
                <a:gd name="connsiteX0" fmla="*/ 2474102 w 2474102"/>
                <a:gd name="connsiteY0" fmla="*/ 0 h 257442"/>
                <a:gd name="connsiteX1" fmla="*/ 2251066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2 w 2474102"/>
                <a:gd name="connsiteY0" fmla="*/ 0 h 257442"/>
                <a:gd name="connsiteX1" fmla="*/ 2419380 w 2474102"/>
                <a:gd name="connsiteY1" fmla="*/ 257442 h 257442"/>
                <a:gd name="connsiteX2" fmla="*/ 0 w 2474102"/>
                <a:gd name="connsiteY2" fmla="*/ 257442 h 257442"/>
                <a:gd name="connsiteX3" fmla="*/ 54721 w 2474102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474103 w 2474103"/>
                <a:gd name="connsiteY0" fmla="*/ 0 h 257442"/>
                <a:gd name="connsiteX1" fmla="*/ 2419381 w 2474103"/>
                <a:gd name="connsiteY1" fmla="*/ 257442 h 257442"/>
                <a:gd name="connsiteX2" fmla="*/ 0 w 2474103"/>
                <a:gd name="connsiteY2" fmla="*/ 257442 h 257442"/>
                <a:gd name="connsiteX3" fmla="*/ 54722 w 2474103"/>
                <a:gd name="connsiteY3" fmla="*/ 0 h 257442"/>
                <a:gd name="connsiteX0" fmla="*/ 2642419 w 2642419"/>
                <a:gd name="connsiteY0" fmla="*/ 0 h 257442"/>
                <a:gd name="connsiteX1" fmla="*/ 2419381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8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7 w 2642418"/>
                <a:gd name="connsiteY1" fmla="*/ 257442 h 257442"/>
                <a:gd name="connsiteX2" fmla="*/ 0 w 2642418"/>
                <a:gd name="connsiteY2" fmla="*/ 257442 h 257442"/>
                <a:gd name="connsiteX3" fmla="*/ 54720 w 2642418"/>
                <a:gd name="connsiteY3" fmla="*/ 0 h 257442"/>
                <a:gd name="connsiteX0" fmla="*/ 2474101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0 w 2587697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0 w 2474101"/>
                <a:gd name="connsiteY3" fmla="*/ 0 h 257442"/>
                <a:gd name="connsiteX0" fmla="*/ 2474101 w 2474101"/>
                <a:gd name="connsiteY0" fmla="*/ 0 h 257442"/>
                <a:gd name="connsiteX1" fmla="*/ 2419381 w 2474101"/>
                <a:gd name="connsiteY1" fmla="*/ 257442 h 257442"/>
                <a:gd name="connsiteX2" fmla="*/ 0 w 2474101"/>
                <a:gd name="connsiteY2" fmla="*/ 257442 h 257442"/>
                <a:gd name="connsiteX3" fmla="*/ 54721 w 2474101"/>
                <a:gd name="connsiteY3" fmla="*/ 0 h 257442"/>
                <a:gd name="connsiteX0" fmla="*/ 2642418 w 2642418"/>
                <a:gd name="connsiteY0" fmla="*/ 0 h 257442"/>
                <a:gd name="connsiteX1" fmla="*/ 2419381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8 w 2642418"/>
                <a:gd name="connsiteY0" fmla="*/ 0 h 257442"/>
                <a:gd name="connsiteX1" fmla="*/ 2587696 w 2642418"/>
                <a:gd name="connsiteY1" fmla="*/ 257442 h 257442"/>
                <a:gd name="connsiteX2" fmla="*/ 0 w 2642418"/>
                <a:gd name="connsiteY2" fmla="*/ 257442 h 257442"/>
                <a:gd name="connsiteX3" fmla="*/ 54721 w 2642418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642419 w 2642419"/>
                <a:gd name="connsiteY0" fmla="*/ 0 h 257442"/>
                <a:gd name="connsiteX1" fmla="*/ 2587697 w 2642419"/>
                <a:gd name="connsiteY1" fmla="*/ 257442 h 257442"/>
                <a:gd name="connsiteX2" fmla="*/ 0 w 2642419"/>
                <a:gd name="connsiteY2" fmla="*/ 257442 h 257442"/>
                <a:gd name="connsiteX3" fmla="*/ 54722 w 2642419"/>
                <a:gd name="connsiteY3" fmla="*/ 0 h 257442"/>
                <a:gd name="connsiteX0" fmla="*/ 2541429 w 2587697"/>
                <a:gd name="connsiteY0" fmla="*/ 0 h 257442"/>
                <a:gd name="connsiteX1" fmla="*/ 2587697 w 2587697"/>
                <a:gd name="connsiteY1" fmla="*/ 257442 h 257442"/>
                <a:gd name="connsiteX2" fmla="*/ 0 w 2587697"/>
                <a:gd name="connsiteY2" fmla="*/ 257442 h 257442"/>
                <a:gd name="connsiteX3" fmla="*/ 54722 w 2587697"/>
                <a:gd name="connsiteY3" fmla="*/ 0 h 257442"/>
                <a:gd name="connsiteX0" fmla="*/ 2541429 w 2541429"/>
                <a:gd name="connsiteY0" fmla="*/ 0 h 257442"/>
                <a:gd name="connsiteX1" fmla="*/ 2486708 w 2541429"/>
                <a:gd name="connsiteY1" fmla="*/ 257442 h 257442"/>
                <a:gd name="connsiteX2" fmla="*/ 0 w 2541429"/>
                <a:gd name="connsiteY2" fmla="*/ 257442 h 257442"/>
                <a:gd name="connsiteX3" fmla="*/ 54722 w 2541429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1 w 2541428"/>
                <a:gd name="connsiteY3" fmla="*/ 0 h 257442"/>
                <a:gd name="connsiteX0" fmla="*/ 2541428 w 2541428"/>
                <a:gd name="connsiteY0" fmla="*/ 0 h 257442"/>
                <a:gd name="connsiteX1" fmla="*/ 2486707 w 2541428"/>
                <a:gd name="connsiteY1" fmla="*/ 257442 h 257442"/>
                <a:gd name="connsiteX2" fmla="*/ 0 w 2541428"/>
                <a:gd name="connsiteY2" fmla="*/ 257442 h 257442"/>
                <a:gd name="connsiteX3" fmla="*/ 54720 w 2541428"/>
                <a:gd name="connsiteY3" fmla="*/ 0 h 257442"/>
                <a:gd name="connsiteX0" fmla="*/ 942785 w 2486707"/>
                <a:gd name="connsiteY0" fmla="*/ 0 h 257442"/>
                <a:gd name="connsiteX1" fmla="*/ 2486707 w 2486707"/>
                <a:gd name="connsiteY1" fmla="*/ 257442 h 257442"/>
                <a:gd name="connsiteX2" fmla="*/ 0 w 2486707"/>
                <a:gd name="connsiteY2" fmla="*/ 257442 h 257442"/>
                <a:gd name="connsiteX3" fmla="*/ 54720 w 2486707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46368 w 1146368"/>
                <a:gd name="connsiteY0" fmla="*/ 0 h 257442"/>
                <a:gd name="connsiteX1" fmla="*/ 888065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8 w 1146368"/>
                <a:gd name="connsiteY0" fmla="*/ 0 h 257442"/>
                <a:gd name="connsiteX1" fmla="*/ 1091646 w 1146368"/>
                <a:gd name="connsiteY1" fmla="*/ 257442 h 257442"/>
                <a:gd name="connsiteX2" fmla="*/ 0 w 1146368"/>
                <a:gd name="connsiteY2" fmla="*/ 257442 h 257442"/>
                <a:gd name="connsiteX3" fmla="*/ 54721 w 1146368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146369 w 1146369"/>
                <a:gd name="connsiteY0" fmla="*/ 0 h 257442"/>
                <a:gd name="connsiteX1" fmla="*/ 1091647 w 1146369"/>
                <a:gd name="connsiteY1" fmla="*/ 257442 h 257442"/>
                <a:gd name="connsiteX2" fmla="*/ 0 w 1146369"/>
                <a:gd name="connsiteY2" fmla="*/ 257442 h 257442"/>
                <a:gd name="connsiteX3" fmla="*/ 54722 w 1146369"/>
                <a:gd name="connsiteY3" fmla="*/ 0 h 257442"/>
                <a:gd name="connsiteX0" fmla="*/ 1306669 w 1306669"/>
                <a:gd name="connsiteY0" fmla="*/ 0 h 257442"/>
                <a:gd name="connsiteX1" fmla="*/ 1091647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54722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0 w 1306668"/>
                <a:gd name="connsiteY3" fmla="*/ 0 h 257442"/>
                <a:gd name="connsiteX0" fmla="*/ 1466967 w 1466967"/>
                <a:gd name="connsiteY0" fmla="*/ 0 h 257442"/>
                <a:gd name="connsiteX1" fmla="*/ 1251947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7 w 1466967"/>
                <a:gd name="connsiteY0" fmla="*/ 0 h 257442"/>
                <a:gd name="connsiteX1" fmla="*/ 1412246 w 1466967"/>
                <a:gd name="connsiteY1" fmla="*/ 257442 h 257442"/>
                <a:gd name="connsiteX2" fmla="*/ 0 w 1466967"/>
                <a:gd name="connsiteY2" fmla="*/ 257442 h 257442"/>
                <a:gd name="connsiteX3" fmla="*/ 54720 w 1466967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466968 w 1466968"/>
                <a:gd name="connsiteY0" fmla="*/ 0 h 257442"/>
                <a:gd name="connsiteX1" fmla="*/ 1412247 w 1466968"/>
                <a:gd name="connsiteY1" fmla="*/ 257442 h 257442"/>
                <a:gd name="connsiteX2" fmla="*/ 0 w 1466968"/>
                <a:gd name="connsiteY2" fmla="*/ 257442 h 257442"/>
                <a:gd name="connsiteX3" fmla="*/ 54721 w 1466968"/>
                <a:gd name="connsiteY3" fmla="*/ 0 h 257442"/>
                <a:gd name="connsiteX0" fmla="*/ 1720243 w 1720243"/>
                <a:gd name="connsiteY0" fmla="*/ 0 h 257442"/>
                <a:gd name="connsiteX1" fmla="*/ 1412247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1720243 w 1720243"/>
                <a:gd name="connsiteY0" fmla="*/ 0 h 257442"/>
                <a:gd name="connsiteX1" fmla="*/ 1665522 w 1720243"/>
                <a:gd name="connsiteY1" fmla="*/ 257442 h 257442"/>
                <a:gd name="connsiteX2" fmla="*/ 0 w 1720243"/>
                <a:gd name="connsiteY2" fmla="*/ 257442 h 257442"/>
                <a:gd name="connsiteX3" fmla="*/ 54721 w 1720243"/>
                <a:gd name="connsiteY3" fmla="*/ 0 h 257442"/>
                <a:gd name="connsiteX0" fmla="*/ 950801 w 1665522"/>
                <a:gd name="connsiteY0" fmla="*/ 0 h 257442"/>
                <a:gd name="connsiteX1" fmla="*/ 1665522 w 1665522"/>
                <a:gd name="connsiteY1" fmla="*/ 257442 h 257442"/>
                <a:gd name="connsiteX2" fmla="*/ 0 w 1665522"/>
                <a:gd name="connsiteY2" fmla="*/ 257442 h 257442"/>
                <a:gd name="connsiteX3" fmla="*/ 54721 w 166552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229723 w 1229723"/>
                <a:gd name="connsiteY0" fmla="*/ 0 h 257442"/>
                <a:gd name="connsiteX1" fmla="*/ 896079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3 w 1229723"/>
                <a:gd name="connsiteY0" fmla="*/ 0 h 257442"/>
                <a:gd name="connsiteX1" fmla="*/ 1175002 w 1229723"/>
                <a:gd name="connsiteY1" fmla="*/ 257442 h 257442"/>
                <a:gd name="connsiteX2" fmla="*/ 0 w 1229723"/>
                <a:gd name="connsiteY2" fmla="*/ 257442 h 257442"/>
                <a:gd name="connsiteX3" fmla="*/ 54720 w 1229723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229724 w 1229724"/>
                <a:gd name="connsiteY0" fmla="*/ 0 h 257442"/>
                <a:gd name="connsiteX1" fmla="*/ 1175003 w 1229724"/>
                <a:gd name="connsiteY1" fmla="*/ 257442 h 257442"/>
                <a:gd name="connsiteX2" fmla="*/ 0 w 1229724"/>
                <a:gd name="connsiteY2" fmla="*/ 257442 h 257442"/>
                <a:gd name="connsiteX3" fmla="*/ 54721 w 1229724"/>
                <a:gd name="connsiteY3" fmla="*/ 0 h 257442"/>
                <a:gd name="connsiteX0" fmla="*/ 1398038 w 1398038"/>
                <a:gd name="connsiteY0" fmla="*/ 0 h 257442"/>
                <a:gd name="connsiteX1" fmla="*/ 1175003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398038 w 1398038"/>
                <a:gd name="connsiteY0" fmla="*/ 0 h 257442"/>
                <a:gd name="connsiteX1" fmla="*/ 1343317 w 1398038"/>
                <a:gd name="connsiteY1" fmla="*/ 257442 h 257442"/>
                <a:gd name="connsiteX2" fmla="*/ 0 w 1398038"/>
                <a:gd name="connsiteY2" fmla="*/ 257442 h 257442"/>
                <a:gd name="connsiteX3" fmla="*/ 54721 w 1398038"/>
                <a:gd name="connsiteY3" fmla="*/ 0 h 257442"/>
                <a:gd name="connsiteX0" fmla="*/ 1651313 w 1651313"/>
                <a:gd name="connsiteY0" fmla="*/ 0 h 257442"/>
                <a:gd name="connsiteX1" fmla="*/ 1343317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651313 w 1651313"/>
                <a:gd name="connsiteY0" fmla="*/ 0 h 257442"/>
                <a:gd name="connsiteX1" fmla="*/ 1596592 w 1651313"/>
                <a:gd name="connsiteY1" fmla="*/ 257442 h 257442"/>
                <a:gd name="connsiteX2" fmla="*/ 0 w 1651313"/>
                <a:gd name="connsiteY2" fmla="*/ 257442 h 257442"/>
                <a:gd name="connsiteX3" fmla="*/ 54721 w 1651313"/>
                <a:gd name="connsiteY3" fmla="*/ 0 h 257442"/>
                <a:gd name="connsiteX0" fmla="*/ 1978775 w 1978775"/>
                <a:gd name="connsiteY0" fmla="*/ 0 h 257442"/>
                <a:gd name="connsiteX1" fmla="*/ 1596592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1978775 w 1978775"/>
                <a:gd name="connsiteY0" fmla="*/ 0 h 257442"/>
                <a:gd name="connsiteX1" fmla="*/ 1924054 w 1978775"/>
                <a:gd name="connsiteY1" fmla="*/ 257442 h 257442"/>
                <a:gd name="connsiteX2" fmla="*/ 0 w 1978775"/>
                <a:gd name="connsiteY2" fmla="*/ 257442 h 257442"/>
                <a:gd name="connsiteX3" fmla="*/ 54721 w 1978775"/>
                <a:gd name="connsiteY3" fmla="*/ 0 h 257442"/>
                <a:gd name="connsiteX0" fmla="*/ 2283345 w 2283345"/>
                <a:gd name="connsiteY0" fmla="*/ 0 h 257442"/>
                <a:gd name="connsiteX1" fmla="*/ 192405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283345 w 2283345"/>
                <a:gd name="connsiteY0" fmla="*/ 0 h 257442"/>
                <a:gd name="connsiteX1" fmla="*/ 2228624 w 2283345"/>
                <a:gd name="connsiteY1" fmla="*/ 257442 h 257442"/>
                <a:gd name="connsiteX2" fmla="*/ 0 w 2283345"/>
                <a:gd name="connsiteY2" fmla="*/ 257442 h 257442"/>
                <a:gd name="connsiteX3" fmla="*/ 54721 w 2283345"/>
                <a:gd name="connsiteY3" fmla="*/ 0 h 257442"/>
                <a:gd name="connsiteX0" fmla="*/ 2552650 w 2552650"/>
                <a:gd name="connsiteY0" fmla="*/ 0 h 257442"/>
                <a:gd name="connsiteX1" fmla="*/ 2228624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0 w 2552650"/>
                <a:gd name="connsiteY0" fmla="*/ 0 h 257442"/>
                <a:gd name="connsiteX1" fmla="*/ 2497928 w 2552650"/>
                <a:gd name="connsiteY1" fmla="*/ 257442 h 257442"/>
                <a:gd name="connsiteX2" fmla="*/ 0 w 2552650"/>
                <a:gd name="connsiteY2" fmla="*/ 257442 h 257442"/>
                <a:gd name="connsiteX3" fmla="*/ 54721 w 2552650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  <a:gd name="connsiteX0" fmla="*/ 2552651 w 2552651"/>
                <a:gd name="connsiteY0" fmla="*/ 0 h 257442"/>
                <a:gd name="connsiteX1" fmla="*/ 2497929 w 2552651"/>
                <a:gd name="connsiteY1" fmla="*/ 257442 h 257442"/>
                <a:gd name="connsiteX2" fmla="*/ 0 w 2552651"/>
                <a:gd name="connsiteY2" fmla="*/ 257442 h 257442"/>
                <a:gd name="connsiteX3" fmla="*/ 54722 w 255265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2651" h="257442">
                  <a:moveTo>
                    <a:pt x="2552651" y="0"/>
                  </a:moveTo>
                  <a:lnTo>
                    <a:pt x="2497929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Right301519">
              <a:extLst>
                <a:ext uri="{FF2B5EF4-FFF2-40B4-BE49-F238E27FC236}">
                  <a16:creationId xmlns:a16="http://schemas.microsoft.com/office/drawing/2014/main" id="{0DAD271D-CEA4-C2E8-AD66-4B70622E4D40}"/>
                </a:ext>
              </a:extLst>
            </p:cNvPr>
            <p:cNvSpPr txBox="1"/>
            <p:nvPr/>
          </p:nvSpPr>
          <p:spPr bwMode="gray">
            <a:xfrm>
              <a:off x="3903342" y="876300"/>
              <a:ext cx="249792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Right to win</a:t>
              </a:r>
            </a:p>
          </p:txBody>
        </p:sp>
      </p:grpSp>
      <p:grpSp>
        <p:nvGrpSpPr>
          <p:cNvPr id="45" name="btfpStatusSticker891145">
            <a:extLst>
              <a:ext uri="{FF2B5EF4-FFF2-40B4-BE49-F238E27FC236}">
                <a16:creationId xmlns:a16="http://schemas.microsoft.com/office/drawing/2014/main" id="{DDCE6A18-5307-0FA2-E5DE-FA81369610CF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46" name="btfpStatusStickerText891145">
              <a:extLst>
                <a:ext uri="{FF2B5EF4-FFF2-40B4-BE49-F238E27FC236}">
                  <a16:creationId xmlns:a16="http://schemas.microsoft.com/office/drawing/2014/main" id="{C7DB0457-DAEB-91F4-7336-CA192AF029E6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preliminary</a:t>
              </a:r>
            </a:p>
          </p:txBody>
        </p:sp>
        <p:cxnSp>
          <p:nvCxnSpPr>
            <p:cNvPr id="49" name="btfpStatusStickerLine891145">
              <a:extLst>
                <a:ext uri="{FF2B5EF4-FFF2-40B4-BE49-F238E27FC236}">
                  <a16:creationId xmlns:a16="http://schemas.microsoft.com/office/drawing/2014/main" id="{0D93C50A-7F8D-726A-4CEB-4679587470A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CAB3AA7-EEE2-F870-B30E-F60C46A68B74}"/>
              </a:ext>
            </a:extLst>
          </p:cNvPr>
          <p:cNvGrpSpPr/>
          <p:nvPr/>
        </p:nvGrpSpPr>
        <p:grpSpPr>
          <a:xfrm>
            <a:off x="11376783" y="-10140"/>
            <a:ext cx="1039529" cy="822960"/>
            <a:chOff x="11356523" y="-1664"/>
            <a:chExt cx="1039529" cy="822960"/>
          </a:xfrm>
        </p:grpSpPr>
        <p:sp>
          <p:nvSpPr>
            <p:cNvPr id="36" name="Diagonal Stripe 35">
              <a:extLst>
                <a:ext uri="{FF2B5EF4-FFF2-40B4-BE49-F238E27FC236}">
                  <a16:creationId xmlns:a16="http://schemas.microsoft.com/office/drawing/2014/main" id="{CD0F5FEB-4768-9BA9-C7AD-A496DA8320B1}"/>
                </a:ext>
              </a:extLst>
            </p:cNvPr>
            <p:cNvSpPr/>
            <p:nvPr/>
          </p:nvSpPr>
          <p:spPr bwMode="gray">
            <a:xfrm rot="5400000">
              <a:off x="11369038" y="-1664"/>
              <a:ext cx="822960" cy="822960"/>
            </a:xfrm>
            <a:prstGeom prst="diagStripe">
              <a:avLst/>
            </a:prstGeom>
            <a:solidFill>
              <a:srgbClr val="83AC9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9B8EB6B-D71B-C8DD-D506-B38891663302}"/>
                </a:ext>
              </a:extLst>
            </p:cNvPr>
            <p:cNvSpPr txBox="1"/>
            <p:nvPr/>
          </p:nvSpPr>
          <p:spPr bwMode="gray">
            <a:xfrm rot="2686905">
              <a:off x="11356523" y="160032"/>
              <a:ext cx="1039529" cy="288147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>
              <a:spAutoFit/>
            </a:bodyPr>
            <a:lstStyle/>
            <a:p>
              <a:pPr marL="0" indent="0" algn="ctr">
                <a:buNone/>
              </a:pPr>
              <a:r>
                <a:rPr lang="en-US" sz="1400" b="1">
                  <a:solidFill>
                    <a:srgbClr val="FFFFFF"/>
                  </a:solidFill>
                </a:rPr>
                <a:t>New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8F7840AC-5FBD-9A6D-4DDD-F71FA309C50C}"/>
              </a:ext>
            </a:extLst>
          </p:cNvPr>
          <p:cNvSpPr/>
          <p:nvPr/>
        </p:nvSpPr>
        <p:spPr bwMode="gray">
          <a:xfrm>
            <a:off x="6523436" y="913114"/>
            <a:ext cx="2334162" cy="334422"/>
          </a:xfrm>
          <a:prstGeom prst="rect">
            <a:avLst/>
          </a:prstGeom>
          <a:solidFill>
            <a:srgbClr val="FAEEC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>
                <a:solidFill>
                  <a:srgbClr val="000000"/>
                </a:solidFill>
                <a:cs typeface="Arial"/>
              </a:rPr>
              <a:t>Note: Simpler version (removing ease of use prioritization) in appendi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494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jXUBWemRjAOozn/HmCP9ikBFEj1B7g0OllzXFdy5vf01Z4gCqmgDe+Kyi7PMBnmA7x8w2zuCiEXztiDmIzH+jkD75cz0RVtfbg4l/fDPTtaih/sMJVQg1AFRXOMfOoweKj4zbCHt+M3Xbk15QRt8/N/gj+8FjcpdE+YuOKnBgBnkAjlN7qe+8C+Mtbipgq1jjWCtx5zmANzB0iAuYHHUOZ7AHDE4N2ULC9nPWxAi/1B/feHj8zErYDN10pN4CJRsYhJFsmjwoWhQd8fUDZe6DPurZUtXmkykNMI4gbbbtkn8XRkaGuAllduJp6Fa2rUTo1x7wWp5wFXWC2C1ZK2gNFFQp7vix6NxM+o0LmyVpgqVUantCd+jp/336VDILfvxyQaRmREKnqKesDIZ5+WCfplBnIcVAw4Q7V07k1Dvbd+l2+oTMLOaUcDmLh+Gpov39/LNTMexFzGyhQmMzuVGKZd29Rv2bK3dYkCkP8ZP26iwJjT3K/RZpVQNwGhqjYzVFV4d46YzS+lXFvV2NrOPy84BcKwQTQge41TQ383T9hwABo/WqOjB3GJChPnDC3nOwnL62FWdcX4TzqgG4dfwxB27//OiH/YJsYYkFTo566u3+QzuRGwGNrSlbRGCdoA7efA39yQijeXyCI/lUNs72CmDQn4Z7URbp1g4NsofGd2lIDjub7py93uhjOtogl5HOAHlpRp79gMfguyGpC6SGl95lYMygmAbXq5kVRZQpudUknYMvGQTzjR0oRGO+NfUNJ8QWmyMJ6bcfHbP4MKXHOPnwGevNKhcfTISihKRdN9H+2w/SHMTHOMYFgV4EpnLxrJkxxkCDq44FA+3l9Lyuodu0qz+nqs+TmDzpsvhtObpSt/KGFxPe6IqxwxtkcXLXz2zdqs6huPZ4TyzgKgHgOzad3M4gFVYc+E5T+kZ3WbrOpJYrh4QJHND+thO9LQrLLUXTvW5OGgTQ8GXafbRqH0N68iaQ+ehGFgQ0KPzvYdq4+3h8owuCVoL2zMQGkTg0wvM6fPah+9mkARDyfC+8Y+hFxclh8wRycsapEz4znjm3kfmfrS0B2i8/LANJXw3WaGLLxy7L0JCZYR6siSuf5zCdwjfjSUnY/xS3p4lxDxoHtbROz4rUJ+a6Gho7v87egWom5Rp8IyqwhUuaFCiP3JNKWEyL9cj21fyawRfA1IweIPHFWOVHdXiqkAj9HAN1+A94/d5OYX2dODDpHptbyPXnan9Yw86udfuDsd/5FppBSx6j0Z+TFrbJdYFp7zJYabTDqzfYe/AD4/HnytnCpN8MUk1QyeMuWUwJOnaQGLVvMIpa0+87ahVoTISxOKMbNSKuGLSNGmGnEGIqNNLswoFl5eYBOO8rqMo40G7GXVBu5vTA/3xXHLWgikri6TM7qw66WpwEMQBVIqeqNrUaooWwiix9jZSskJI/et425NbgSTPNtTtjw7ad7aLgqi/VkpvWbewM5bnfv8u0kQgDzhUKgm6KIdom3qkIRDnGhFf3DnUb0Gc7ndew41gTdOLr4RYzLdAfVc5CHIDRoscYBeL+6HPbWSxPiBR2O8gR37d/Y9DzpoHfxmF9jW90M6xtUGEmsl8rYLZjoH0DTJxRle53OTDgFisiuLVjJZhtCmIzGhxedYP985qFRjiDkG4WY3nDrF758HClWM11UAuyfIWL5zB7ZVCYwjATjJifEyxLpTBEWT5ox0/inttckXUU1yRvE/j9R5FkgkoE1/Vz84P8xut3VBh+FutnOyzqmxwl3kUumYVwTsF25zy7Q/OODMkdTkxhbMNnWdDBvE1Fy+dwhpcA+Ycdy05iRftvF0a0kCsuWAKcCX+49PuiTcxCa3R3luz/5fGT15WJqOSFB+2O/0L3VeDf9HShrKvEpM6uWhYncfMn+xxBsAf9YcMBfq1FDGhBEt8QmMWTkzVo0Lda86Nw3ytium/4UOwReo2t4rB6sU+7MeDmsni90YgMduR4jD2ucoPNQN1A70Qolk52tDjahsXIouT2yrHuD9ST8Oi3EMNILLq+d1mnrl7reagovPuUkZL9KCN+fHSQQF9nx4XZJHa/EmC3ibvVZkaqRNI1O4G3/Q+EEqUAp99Ql1IF91Di8V0xh+bbv9HbIfy2EYbVUlDiUHG6QleLgyQrJZeQgYWKXh4LeEpBpVpgCuieRVZ9JinJ6Mm5DAE/LyT7oxPkqVm4KJ1PmXfDw/GohnJydC2eh/If7NHPABuP4l1YkvmotCYXWjt4aA9a9NSoiaQxbcFyVwRMl7BOfJcGJ/5Ns994FlvmpOXSEfwGVVnYsaVfdH5HLMFGVZRj9RBbcQ/ciA31DMWueNXBZAg3CwkJU+/mwJ4B2RlRgEXr1s2g5nJ4oSCilt+S23PQszbdfL+YlQfJqeJne/EUXI9y5JIDpPg62Qe6fnPEAYXACLKH8L4Yi+Iq52YaSzs4O362asL76rS18oAWvN2ZMzElJcGx4gCkHbi+nghE2wxe747X1BWTf0zKBF/DNrrUYVCyN8uZvayJVmhX0XzEVEkiimHclbsKw9tn4ecd8WBB/yFe48YPP8AS55nY+JeaOrIxGYhmV/5BN9Ysr/4Ff86K6jxlkhgseI3XrSjog4RzXyC6OcdmZWBF6TCQoECb6JSKMBDzbleP4/7X53n98ygXQ4QU0MbyZkro7I/4+UC2SsBloK5LYr9le1ZfwVRGpVJmPPadAW4tBGpFCpr2G18QFm0Ax7iA9NQDR5flstUvUYy13d4Vx9GFLMSkjArsFPrHMuRWg3bMsC0Nhx8RX9AmsRIB2IOpqNaCpQlC+vb1IcEiuvWvtXGr42a/oR/rHWEeXhQO2yk3Fe2GR4qYLJhEznYWm4SZzRF7+2jCDdc2XUhyVuiCLT3uOL2jddgqgKvRdXHvPL42uGjUiBUUWO75dV/tkNGk+waqsDW2srE7oFnOGmmj964QeoMD+YVLBfgIQTGKogELJFK0mCOtUkz4vkvPyo24XXTo014hFV7ZXnvq6I1HhU/mxroKMe4odBSkC/pzlKdiybO8s9D4XHieI2AKlJzUFsGbYNUPo6ymR7+BUt1LUVS5t5EvBQaf7HRcTFc+wid4O7/PfbZiRCR7UGCJWSS9mrfj7iKOeC69R7zz5c3awZsIEqqyeIEwPGdz//oSx4Aliao7MQshr/ZTbA8GL2SILGuQxHrMxQkUhIQMmFcuGrdJo8SYDdDO7E6ox1QW4SDoHzc9dfopsXxwzTmfeS9QocbAwGXEn0Ky7s711ZH0nbgzTSYJFzO90MNhu7D+sV6v+zS/ed5Gn3opIett58XJqS+wAXPCBEpLRzl2Ct4U1kGJLVDoUxYbXhkqTJ0g57HWZRT6oPCtPb6uF991R12EDJgBPVAoWn3qrO62EDNS72DLDRw7lYs4MbdBs6Vlvf32eSEq4fniIkPqfwZGItvt0XqyEO2IXTeBg8V3MzFWMBIaFcqWbsg9US5BYy0VUquTjODMEcCNxOPQ3Kk329wklWli1WUsRmIFEs57VpPv8vpoTzlTye/CSNln8Gk38AQhpE1nc3k7AcN8avgcvf+PmcL0Zs8Y5yrHqjzD6A8EP2kcyn3p6njzooo9V8t6zWeQsFTkHrQ0HipI7lIPankHIA6hcQ63gzk1nbs6wgIOd004H5IxoTISjeOgkIkimdi/qhBO9r3Xb5TwDPWf37sI3lXMhDeo4UnQnJv+FjW2WnPXnE9jpC7IywIHfMMf6eMODQcsh2hwHz8cZK5BbFpNeHl5fwv1JfZiB6FhiwaaXKZfmxK7l10S6ETb/o+d35Yqw+FIOObUxrHYH6QT05HToO85aqhd5V3ay3FiFXDTNDnQbhileQtP1kn+8KRoyTfISCYz43hl9jI218aypwFhJDwNcfbGJqcHJTTx8E6HiLDNJg3hBexihGRtP1q7Nb4quG/19lmgQJnrsEQsQsGZeVbKUnE0fmUJzTQM/x453DN2rK+muD0pR9EiqxZfzmiCtAQcmKeZzTSm89gztxAwQUDmfwgyoxeNqCONcaPb24LiUPWyEmclZbeTtACMILvLxuR9lVllu68Vb9UBLbUOGx76Q16VsXvhy7vkZXEIJN9fF5S6x14H6rmiODhFdqEymmqVINhvHuV3gNAv4vrumuCi4BQj/xpKrZVmSpnnUi69aKJMjxJkDAFGnqCEPkD8OlEIU6vlOw6pGBoMGNHxWu67wwXe4+N35i3SgT/ajGWb1PUQ393DdA2rB2hxh+ucnA0OLIDgN9EjYT2ijb3GmmOhfnIMJhbzgq2M51/4dOAydnz3tbF8P/X8xRdVw1IAjSMWelxVydpcwIyc02B8F62vOwzTNLl3IF70Z14fMnjvJJcj93O9Cok31rZwnBtLX9QF3svJ55Bp5N4ZoM+jomP5jeZyXxxnEKFaAnMUUdtxdBEl9D3r/5WD4T+cZTy4oro94wswfpj+UUP+2OLwWV/pDgH6yxN7Tur38u/xGVDMWfrlUseWxZZBvAc7g9Yz+JrjlH1SO+zTw08bIZlTFJY1zFVltn328+CeTYJu+XybXQtU5Y3aU5S5FCOrC1VZRumrAtZ2E7IpgkWqC42e9ozyxvlu5fl0iTc8yG5oiEhKoA2FvrzgzbrFk9ztc+NgeXfAFKb00vFVOhqWlmzzEjmcN23Jq0k66st6d48aLLFhDym1MwKAPu4/SSTvkLq1CNy1/mUAXx4eMTOz+2nlO0Ixs8m+wn2nMK2dNsQ5tw3cod3lXgHERuNvhMmZA4XIHCRxJrfLcHDdTDHCywE2mfzyoEvuAQ/lDX9pPpMA8V44NbLv9AXGOHgrWMlE7NXLJlXfDr8AKnaVyXJPZLisWvdMR1GcmYeoCFaTXPlEKmN1H9SHQaFJJjlA++5LXPy/cYWV2NBYt01YVQxbDb3DL3+bCXLApVNIKpIVi1wK9hxc6frezooraYF25uXkIWYhHHidekXJHdAROBO408k6IjU4/bt+T+LXNjtemIdv3LEdf5oDtYV69hUUrIOL1ujSnM5UbhXciHU6uuJHj/3xDf/3V+Ky4bDa7BnYHj037HWX/S7Q0fHz17dfdpsyhFxZR3oPW2yiB+KpR41xY79yt5tsEY3J7PubPrOcYFJIY5kW0wdqhhN48J9CNZSj3ilgNtivl7d7MAhkTWSi7SOOgmM6l1klO/eje+Ge1e+K3SrmWIcJTovzy02rAxKnUm7ON9IsF52FePxKwz9sz/4B+u8aZI0Nw6OPBaszgdw1fcVyVKQ9yfLHwGzItHgvRv1oCdKZ6/sKJF2cOHjleWpJLAYnVMJNQL0fKGpzY1s89jEsoEuGgKxp9qYMgrkoOYbXxVYS+5CAKRp6MYF4cdLsoHbmkMULHG5JkxwDbMqt4k2wvlfAu0rVIP3Ch2kZ2P0qzGXtiTNkh0SZLrSj7ivSkFH4ZSGQMFm0r0j8NRobQmohSETMWGu5g0ivjtmD/UF/pCSYP2m3+hhe7OI2nV5hvFiwFH9+G+TxdqMZb+tOaCLaezMQg6gSf/GVN3uh4UM4WDYs9GSSA2RQhovK31jcVrEomkasY6+u8Veet8rGTmOF7mfJXphHVmjK8VcvPb3G02PsUf3q2FjctXteq8isg1JY9WVJ5KbL+SUX1ojgXX40qoEmKvbekGB0qvwOprDIGpbJeygbeBqxgwRlXPkUYo92ae5frJYFaLzt/zvcggso4ReP5YKbIF0IJIue01Y7k6ljj0e4OZZI9nurLoyFH7M/ePwdZP+y0Vw2y0AZCO/J6mYLXRtbgGYVeV5/t0ykfZJ2fLBXCT9SoGkHeF+yUNyTYLqsQ3qlPg0XZER5uaN8fCET953MSbBE/lf6xTI0uNpMGo2uK/u8qlxrKE+NGniS2XhCfRxa3Y7j03Jp5czpFQH4s7GWAEkK0jbM6E6qMxQB9xcfnRUXz1r7E0NW/sPepA6d4GOdIun0oBv1jgQPndEZzS3Y2FPKHzIAhWA2KUKVyaKxgEcI/Ym0vvR4I4AtBQX9FHgEcA8aDRWyph3LJwCpFZjb1FeviTHdSXYvsGuCHOSK7giZBJroLsbKLJofTLgzfFP0PQOMSDtiBgjrrHl1yg8nL5OjiiZweJl+x41fRLolnaIXjLGZncGY2XBunQsu2RKTNjTJCBIARaerwfi3VizCnOBAjUqI4DMiLdvZ2q4p5GHwhqFSYXcVD2Px3vDw6U83spmyiMyVE6jVXEUvQu0D3KAQL4hr7HvPlle+HmpxftloUoCPTNwIG14v+wD6UDFPFzSHv/EMPiJ7Gb5SiSCru3B5gSE3ikJxVKNPis/yP3EVqTd84W8PIOM7vqQS4RGxkhVdwKqs9qJaMChV/kbEI8e6ZDUjd/vGk5nC2za6q5/TNVjlgNzwnLO8uVmy0n2iyq7wMKp36HGd1kg96gIaTUCND4qDBrLiKJawuB+IKgx8ftKePORR+jF3CJ9AvIdWI2cdgnS+QPO9H81vw/XlN3IA4h0//j8avnkAKmeMy2Ex3OfzS7Ida1OksQQ4EUDMFpypCZe3HDOFqBLwLa7sjotJOyVmc2ws/AjkUuhakTJqtB2VH+ORXl9TDaWdb8fNWCVTnlqvgUJve/sSE7/fMAHMqBDRodf+VOmntsjpIh1PxQa4ZfPW9ZKu9fu2LUUu5yB1Pw/aVL49o8vefJEtns6G7ftUtWCFiObJHVuq3Z3A4RSk+8dJFalYvAKlbIgzZ5iIVJkWUHRH3GOcUQKGK68UUjLbJDfJLUXqjohjuDYNELtI5HOY0aWDewiNOEhzsq6lDsvodGMcot2w2NmEsiHI2d+oIbHVf1GdpNbvt5YJTwYfXi7p50v8ATtzolVTdRyNjkjkLLkuNSjdAWvALv+aZqrYHUdO65TEVc+5BvdHG6aik81YBlgXAWBeNZOKptpXVpRCutqG7oUfCgIiCtVJ1TbyOBbP1lkgldIeSxzK4vLzXS+jE7PpMdFfbjnl1oOh+oHWNihwIDSlTO6yPZ/ubCBXQsroqunj8Ur3UEW+sb7Sfwz69u78/e4OVBQ5wijOK0O+6r6xTCz8ICNLxSVSd9ucBWY8jL5oWt37n/5TE0WX3uWiz7tJpI1z1VJGnK0k0FB2pYQszYAl430aPkIMZJdt7HrZXabYFHlqtTZ4/+BZ6ghCVN0aHoTe4ETzi8aFo5d3iXSOMkmlRcXqftQnXmZkd/qT/p3VMIq/RdCRuu+iQt7cBcgjm5V4UOetTbCheN0pejgz3RvTRNlsEFb1h9BDohEbO8p6FyuzuLl2hMnVBdI0+U6y4LYnTaYmwITT3H5hdV2gc5jI4xp7PBcS+ZFZ4NEJYyMC1H8QCPtRpd28eVzGzVxTb/UuNeuRRfGolMzh3aW9uajCGfvYTembjdPsf7ynFeN5jxJrbLmTwMvamwlKkPDP9StKDryw8SsN8A8PlMtgcBIu9gQbqJ74ws14FbiASr1kMqkjPJLBxnVM2rNJr0VAr/P3RWrvDZGgReqtSl/p19a9MuWg/tjcQ2oaQxtCRQngpYyA+e0I00FHIqJ/4Ig1G8bpUNSZdr5mghbDahDYHAVMb0fgDWHgEF7CyA9VousvOf2ZNbIq3c29K7OjKXPCj9ZA6cbopwNkK4+fqgfaf3raJsRJHe6hYIUsNeP8ygtq/0uBNHRr1KmFhn26k7piYl/dQ8uKjNNCpGKhxz2V+MIMV8wJcbAc9Fqgcc6VWnoa/Guz99cLMRte/qYoepA1LzniePWHsRg5pN5ogK3Gc3OtjEUjiFuMCAytey7KeTrpvvNBdjWeB1lxTzS847Hx79jGoWSwDWUyLqI+f88+XMNgLCieoGLvOojyMxubVHPjbJIF+ZZSykpIV1ePoDJeZZCpdJLpuc4sN7AYNAIIVSYALnDgQxNGDO3hmJJ3wcGKhql9WYNnlqJO6loFlS8D6nMms3ZvfuIFMbdcFAwaXFarFhB/NGZDeej9fQNLI19t5D9xv7rxFBgN7l6vQmbluUIs1yoiHur0PwwmX09+zb+lYkYpza5Vc9kVYpZSjdrS5jZdB6sWp0ePhZoeYpA6xziElCj3ohCeqlnOKTC5d4rdGb/9S0OV+ddk+DZFiY8boVoBY3vBt1CKuLVX2TnhQuv932OL+/c+4MtAcHiYoHTpxhyxYMtOxrnzWuBEfxu3+5+r2erm1IK9dNkQ8U2R8gItsM9ZSDYfj8rt8OrpUc0rI7O87nOKsi7bHh7FJBAVtPIP1IzAukqKJcdPosD5yA7kICAVCHJCHVBLGlrg3ncUxicwLGvfsC/k/78h2+0frq40qOUkgpxl11XX5akfAKgVGu4F9F/uGBn/eO3QEh4ZEsN/eF+EaiTzOEklktzI0GVgmYSEd2kGiPAhMun3WZ1i1lysCJYFT0Yfiu9AkTvw/tZfSifTURLF/ib74ubXs9mslSUynrwaf5GPMpMeTPJpHT7wbiSTqlJQz0I/9fPs1wqyZcYENwtUggKwELvxOPHSUwMwaeZjkC7QEOYK97nkvP68U9ESp1wKXNGm++CVfOMLztJMk+3Clu9VGZEPHuFzKl1w5c1+x1xlfvK34hBtk7Ukpr/igXuEHvzsCmlpPgGBj9nKByxamjl6EDYmY0p5Ekd49JQBM6BLvt04cSQ3t7UkNf54S0vvpkdRtwY4OyOaKPL9PAKD27iObS0ZyR4uEEZLpQjjBAiw2qOl9hu1BWJFl/aLXS8YdcxLc8DkZspAtLruL3mRM1yOliY6/W4Fe/CuuCFzTa7XQlhXjwXLrJu1FJoGRzLaTSZw8A0BtdPovvo6tp+JbcvRm5e9iom/oQ0B70kMISVSeWA5V+ewm2ic+oWzIfcujwokZDOVKYm0YML54ZaoI8xbll8VeQUDnfYuB1+joBcysZa2c8Pk1M83vtLtCzsU50ADyGn7+Co2cYH+/fEWD2/i0G/WfHcFzlym/UCU86Td7vIcXhMvgJ9mItOasAA+K9rvTXfrmpnoAgG7I42nBAwZssSFzQPeLbQRwLDlrP/LNPDj/x43PXmO3utS85tS+Vh3NmdVtIi+iUS+oBXiMZA+nPKHQAutfAzM6/m2x+UgvXtpYI1tUjZJ7bV3g0rUjnAyy/MQvLIT24w5jymkawvpXHKX52/p27WxeVLylxKhFSz39pKj6nCAqA2jqzHEOlu3sLcDusoo6Sv3Qv7SGArhYPEj9AvEEM9ZMyQGjwiAZqqgqBNtbh2jlR18xbyTa4sZGIik1TCHx8nz+PuZaqJC2qZOYZjpnCExN4Q6HuJVsIgS4244KP+wW1XT95lQHst5P+6On9kp0zOp8atgorYrudiqLUDgyP/41cw2MrTkcrs3bRXVSqyKFnNHea9GjZKDP7IU47VaRMRFTLoP4HZ8m65KzXwxsQYgCII3l+T4JDLQCBDUxPJUlM9cnyPIHkuI1DeHpGNfkoXqEmE9uy161IKRdrZe2yiiG9Nho6/c9wYYEwDjANgcHpLDB98RXsl/uUyVhxBeMHNDg+5ivlQU4RAqijEybxDYI8xyGlJgJ31jRRdMgEGBiID3fp2yJ5862kxuWQDYgomaamPZPvo4yuochCUu/5F89p0OyNXcP0uyjsZRVJwJmNgVbIzcyKOwJyUi+p/dWUpid+RgwbI3bPB9/RcYxavg9D0OiCiRREuIx0vE0OCbe+Mr2O9XaFM3L2ggN7/nVHldq8anGGOKlUf3J6BOmaGD0bzFLELhwSJP/gtUbznZ5QnjgGNVU6XX2dBvpKEYzelGogiclTUYOKk/4UYFtDsx1Wec+HI2QT+f54UPMPMa7C0XN0G/84wz7xlKoz+ggUB18cNtcylTcE7a6xT5xu+QQWlNJYxpqYVaKjKHAluNDAV4b0cv1nVJT6pfO5UIxg0Ov4lvur2ieJrj+L4hpnQrhs6OqNDqbPghe1iRJUI3o0IOISc6MBnKC1SuUezugxpWwR8kdBT+FhQ6/q+C4yE+hPies2FvZX5mbe1V3Ch0VpYiVKdW0/1VM8G1MYglbWfvjr9YoXWouC7uENE6tH91Uae3MZeESXMTmNgcUx7RNinQakphLDXhc61pc+tbKpY+YfNXuwGZPNINqWySgFN5bRPtgEelGVkpBHhR5liGjBWdeUHbF9i6WSvJtHbrPlHzjuQBGQTAUc9R8p8m8h1J4qc8Mx7ZeXQ0/mKm04u5ey6PCSNeXuG86I6U32uWFJanHREK6ZjhN2JA25OGhsriqZ1hNjMm67h1iUsW69nJdJtVqzwj/jquHTXRs3hBINUCD7+gm1FyaB/TIZf3WVPMmy5WnHcDuzGrmwCbfaEgKhL4xwAkpa2dW+50opFcA+/3wsmH8HHCq1nUNuBnl6chvQLlY7V6YfHX02m6WAfi5chFeFqQODYpaAxEAJgd40xcoPSorqQLThr8oeVdD1eBD6CRIJiHiB6E+gpuNiDs0RqnBNcgyNLhhHU63dS9vrvrlA+wGADYgz3sRpSxlKi6ow1v0pI90FZo1VjjkukeDfbBdwFNTGGlJ1Q/rxImnLdCbARy/m1OiWSzF/BamPjcATUpyPx3Hk/IthwzhG+qBTTD+D3Zjn8YVgEwwoDDmxMV77kh8MH+5WdVqmfyTF2uP1iJzbSGzltiSNEFbnCTA7o4AjL3LOFre1uN1gV8X5ubKBtHrKpdDhd3ao1T+MYYZbRS4cOGz1Wp/P5OHmpl4J8VtIfdX8YrgZkFpx2XY/xOQ9LuJiuxe6pDPrKYleFH8uB3+7vHRN2bZ6DEGWTjnHNPab2JGwNFcmSUvn47IXhsCMYQmBaOAdwDUfRnirSkVkMYYJ1jNhz93UwUbnLo3SFpltXVDBDgOa99kqfNb1uRsHgPr6ReHqVXqjBMYHFu4FfQflBjEk6/pBKbOZ1H7x5Q/8ULs7b8o6ECF5jPRstNmGXKjVcRRpteZPo0VNQfF3cEoQoAnVjuhC7J4IEGgTyVj6G6TNzOweWe1+cLLEm61d7Uw1yThLllp1Nli8WH2V0ihXzwR03pKRavfxsPMO4A5kWKCidYgQb6L26x11XbfHzHIHNvj24stQc0p5TNxINSVAZjIQn/CRps3GEIe+Qiiu0GsjjEoagivRsP2zNdF1YQ199eCFf8LjTAK6c8u69jXhigTUI7Sruao1KD3kB4Zw+N0ge457ThEyopG+dfdmASXTbFxf+7Ax2MqJTv0nPEyGnwnKxXcuk7tMBP07V4+JgIzQoziVn2uQtmFjeXvoI5sGgRvH2GoYtBDqpoh0nRV3sDf5zVwGz1Ws1EwfGRwEIm8e5mBNbCWSn7Pub7g3DKPlRgbCycuEVWjJs7CDQT9ZpTuKTt+yL2cs8Tp9apG297ehuNyiT5OJmEMpMv3PdpPVHpFcsMtlt1igbIc3Ab0dG076bvPQUUB1K5aJRyWKvm/o2D8q6ZuadaGoMb5v0ktIu9QHJouVm5KKGTxsd4oCFXw3AD88KZFsp7n6uluVPqwTl2ChWhlmpP5CW5QIPcYSxsEkKQdML/ZuJt9C9Rsz9r+EXoBORHtW7qXq60OqM008+b+cYjYZfv2rV1WqVko0ootif5Rd8UIDGBUwyB3+/A2gOnVi6tilUEPIvVsw2lxkzJryvDykLJxef+mkYqlJpnHtiaOh9XOkEKn4mA/ip1LO+rY2b2hm8f9SCNwBsKbCw0pe54MXf/TUqvqoFhNCIHzyBqLufayPIfQeeXsxnT4TO22hH+wpx2xAj6H/sW9f7PA7KjKLIAJk+xFF6OKjOPVSsL2wCPekJyuDRWeW2/W8JJfJtBeK+VBWc2fmqxaz56l6ppmSNmnsllyoFPk//NUY9ZP4yF0I2t488MScZ68RexXh0tX5FwZINksHi2unZvWVvgcz8zprDGOdroAtwR52e7PNblf585QfJIXZoa1VmWzhbReQLFfrUJZpiUuAnaNii6p44cndY8K1IFSZivN4sOFXkSkemI2HBNAIAkkzi/LhIstd7M2dqirX7oWddN7jWwDOXMqBCUDGqZvynR93NCgxPVfrU9K8MxO0xB6g+EcFTSTNP/i4apScVOOxGMcwwv39KKxyaCOftwl1jSA7L1zoE41z1zd4Rf1Z8lR9S6anYnJIg7n4Yh6x0RuG/fM5aMRubYAmEiQKAQYd5plYos2ns3vffOslgs1Uu1kd2UF9MibHv65H7O+BjrwjrH98laHcmMpYoOeGa8wsduozGb5XQpTmky5zITGsn0uqbC2bCv44WRdp3c6UVdN/Pj+hcTOW8ZSPm0729PHblgt4/gUTradANKZsClzjSmWAAnLN3ZIM9QyUOP5qhJWJaEmZrybnvAThojZIFE+X1tOSGiyn7wQY24myQANUu2lFONEgGmi6yDRvAxD1qu8qbc9nAyxedOd9rq3NHP6WA+Cml0Bv/rEf/VeNVKhlrmvs5dpJrI5D5WCs3GcuYGYdcrb72KQap3wQNgJRP71mAoOlGQV/t/M90/ViTGjynRitZQT+2ECl25RgdQw/KD/VQu4J93Khv+VGYICmxLoETkspubznnza3P0BWJzSpZN1tkASSHKHjbycJLHPiUx28yWXWZbm8A/SIPvjYgKMHqbnQ2C3MT3XwWq0UOk/mJdHrvGx9yn7heKkfkGhv+syUi+r8X4yegt9U5xfzgvRoEk3J0Byr4DWwyHhNYkxHyAXqbvP3sSagHoHwhlSrBCs2KG9okfKf8bKuCdoDEmqgrAxOGzWbhZTnovs9TqK8gFcWPNIRHUStOiMeoa9yCHbQ8hKl0v0HsKa644yoTuuWV4l08kL5nE94Ab3If1WniEUSnJg7lhT34P1czYafyFoAE8jJ/8dwTLZpx46FZ2og9mhPbbr+G3fNiw3USGenBViBpg/pybrlQr1MlTMqjrDoWLaZXL2otCjCWdH5SkHszM82AK0fQgqPpLZWsbvNkDofsvzqwUkR7ZKaqP4o8Vm7RQFbBYi1WU0RLwhBcWieamY7l/Q43nKMW8f/ediwMiPo9dD32swnk/SwNc3Ga6O5H35De5yzfyppi2bN7jNNCwhy309/UalqdzlkrEKSEPoUhPhClevNBNwVzYCeO86MeHF3NFYmlSpMcmJwskNc7hiq/T4+k54nSE7BOGKL98eVXbj58o8o9OBvMJVX8cVF1r5go9s5GQj7C6HBcIpdF4sFGu+ErPzlQ8t3WLo6nrFcmpKIX2/4akdv3jCzkxxx095HtcVv6nLwda14NAYcMrtWBR5r7q4W+90LlzT9l9+w/50Lb10YtLDPdtS1E9WUme+keo/2WruW6saMDvmzvx1A1PaoptHWrJXpl0rzrQpKNSUCd6C2mcpAx01/InOYQN/LwSOIfqj4+BcQ+CI8a7lAo4h8kXYpOfDNb9EMCKNponMOEWVLXnMs03XEu0P7DjON4zoI2V7kEBGkVSG3/JMMICw/RBE/liElsVDtS19jk6xw5o7U0BnC9dm7aofV3IjMR1pvcMUz6Jq0HrBfOJj10J8ZIyplTBBSEm+RgDpVjtnPejHwpOIv0FUpX//8t7cOP81CxGtQ3O3RwMKH3ii0Oc+pAfWnauilIntH4lIi2XFws7E5qiMJ25pLkE5VRjYLezwyqw8gl2bg3/ViTkvzBBrqsFf3kDQM7hb6kWY6+gskxXoSbKNrOm1pNcp5HwVFHegdbwbT3KvHFN530t1/z/Gne5zjIVtqa7GgXn5P2p1yoUknz6+OFkaAwGrKsYvy5E14K7fjYlCGybJ6ZSxnQ9OygHjPt/8nDZ1LFqAfbcrH1RtGECHcO4FDrz8HtSHmtfJRoCbaTW2L9p8w+OvOu770hjkx2NeTN/UoXUMJnpiSHXFfJs9kAN9JeQ0Au3jrd2hL+zY1qUJveVsHuvO0mjlsYkRNdLCP/HIZZxIo+s7hU5u6lGQo2bMDA8aYTsc5HJzsF0OgTEo1L7rY/sDQS90sHxfpplTQ0YaJaW+npiDFHI70flO/Js8/7k7samIN4RpJgRWBEZBRgkBdTrvt71mtkQLzFpRV8sYXmH9raHC5tlVVWN5SrtPwvVvQsxDfOunD4l8MU3nw4QwgAh17i6ss/PGZMdVpeA9xhenbgOZJBUR5Vm3324ROaplUSXKyER7KcAt8BEh+VGUFqBHsAWmvF5OntQ4kodKIxgWs4nfuX3xblwkHc9NM4HFQrIgslTvt00BvaJ1f0Mcarw4YnhryU5siOh8LpNvsqTCTkT0oFBr+GbWBWA1crO1gVA04lf0grQ5q8lFE25qBH4QLwpqB15f+mm57AIWFla5huYZw9qMDiBewCpskc0cfm8qoAvEcV+hj5YY7VSwyIyygJufSLWdd4y6ao17iPlqD6dyIhCKYwdRjGoNROJUTWdare1eTuSK6gFIaz39DP8Jcm/X9mHlkDlsYrMD53qQ/McNlzKPcENzEXBjJ51lul8RJ2dzXaYT1wpJKhhv0ej7kmLg21RHWntb9QqYmoUXp+z1NnglZmFgZJ6y9hhb0JzDyjQ6vsyIlm+BtN8Bq2/9+q8s6H9Re0VGDC8lb96nJ4d/rXHDyMfbyV/8FYZM4Lsc3B46DMgiO24cOHSPIy5QXZB1qGDD4nqqTC57WkmTmaojgqXbT5zF2v8oSD9B6LRQtDFyeV5FM8WLt4pK7Mbto1B379uX0BYukqeOgKZyR22Y44ds4RhZ6N1yamOeqDsHsbZIzbceMtKiVI9dr/Q2bXp3WQNLSy5egDyv3S4hJVZKLTFU1dy5dexgPNWBjNepLGQGWt7KkxMixS4Zoeupg2M/hjYDsGkgA4GqZhYqT0pQUi6mlRn5m/yKZjJiEgoO7kb9K6VldUcf0EpF3zFpTPwPA7EVgjZPrYs0Uf83teDs39qWRLn6z3ezo9FVqpOsxcJZ8qFJTHjSbSFlaJRcY5ntZ0Xg3bXtsvF+qcxLShsrW08BeW5yX+cjrJonJTFF3A2LlnqWX0D33fLprUuqlpHma7VV52CsL8l/MT7wcs6vPOKoY64cXfTtkOZB3Z3psK0G+uFC5MsH4HosXerAv8v3CWKWaxStmqd4wE+hakG+SdD5f3ycEvvJ896rzl5cLt46yn6TLeO5nUATcQ0e7uJfD9hMhZMOQPNoycOT5LZ5cQIsA96w79zYTOLFHs4SNDKUqc2ibnhu3O+lcJfe/953QJOVGWU1J9WJi+RT9Obo1tzwNjGLa8pGSb3lynLJ+tY4a6if5PrCuzdaWR6HSHR/sq4LM7qYQSap4rbwRhCuJJ8ioozpTFAHxInZK1hGaNfsinnETMdi41vc1M8InRVx/08XSPWxW/BW/bXvD17yLFnORe8O3qzlDY6eabuRleot4gC/wBd2wB4Ac2Z5f4weAOj/Tdab+sb1X6e4wKm6UBd5x9SO0V94Xag9T9JG6yRrbDV+I9CPjHCAwXd9kc4rjlcy9tP6/U/qVBUjAj3FBzHX8ZuRmijb/vIaBuWJS5OQWO4nTSZHq4Lk92D8NJdzFX535xetz5mbnK638LlZ5PBAKw8PGJwoyU3boQSDCtXBf/aSXC01ijG0Wvy+D1CzUx7W0wcIb295cfU2QTlTtXreRYp+F+El0vngKxBgtQEk3JN8lTGfh/Qn4f+279VHDicyykhSywzyvR49j6fFETFCynUIBwpQ8RwJ3UeZ3V94P77w4TGu+qDsrnBDvmugOcb6QQlybibaosPuMMy7T0Z7+i67plrKipp1Jrkr/dhW+31xKMzES7g/4FjGa7mTGrtEV14brqa2LO0KlCW6/yYRy+HlqkKZX3Lbqj+cRH0VazKSDGv9z+V+Jjpsgt7dwY6JCY6YKEtRM6AXSw0Go7Qvz34HIiiGWGNSm1Ov8nNgkXKMWzTHTmHjwh9QN8dEZhH8ij0BtLaSreufu8+XprN4xa3dvS+Dpg7J9BwOXkO0JdqH9h+dZNDgAOeLDUrhedKVNrI/WymOVfRyNhPGGtKlPM73D8iptuFPfCJXOhDRbRXGQGG78O7CF0b4hnQVIu+W797wrnOAoIrTZw5jIFajyDDdarlqSWT1+toM31vj8qFhVhjrH1pzEgzGBpZ3AeuNIJfqCj3QvgJifGk5r7HaIMhUzwOHbx0otBJyy1Wv/1Ai0SwRYbWMufqB22ZCVhD6YgHZdVZ1NvouFrU8XguIZ8VxavZHrS6RrgRVyhH6lx3wHUrwphlFDtjd/ZBA0j06fEfpRPSH/HYUtilmiR7KLf8dJtMSDshaEv8Io5Bp+DunLVkJkNkaiMk/sok0WuTKjn/vnn/RLjhaNTbg/mcAJPa0I9NFSH6oenpZQSwam0Bz7GCisGBAo1IgyXavkCCiwNZ/ZV4yRoNrhRcLYzoj00T7anlwGLOeSMM0rmdUZQ+GWRyiJqloRjUMmThEWCUDBzKB5dkHgabkn/Q08nhtQ1NvPFKlOhKmNWdXJCArbfpNsh/MjoFiRpvSDPIKRzgNP0XYXexhTS8V1G83OhZzcfo/mekZcFlN8OZAZr9paEQYN8gKkbA5uxxd362P/TbUihcAtlSsT1QESbjFDpnIXAEO8cJJoA+oFrLWSF6B1y5m+Se6yvEZIiMbh2/LLnwXL6ICKtYZrDTvkc8JVXHAsCcJivdG7mTD2JI4XGc6q4hq3USVrmBu4I3uElnvb1qjkeG1mdNRcJ+xIcJIR1EZR+Y1xm9qzX883UnweNqnHkz5CknutQ6ckPmLBmlqs7jijSxfuTeGF8g7jdAmVWcZK3GcA2NzoLTikCi94R99Gbzjr2NUQqohLy92RbXFNMnYikwSWf1rp64g7JeUHVERGVHRlOiGe9M1EEyzZJ8JPtYeMQxAbAs8Au9VbygeMxhTa/dDl/lDPcskvKeX53JOTwW9jlL1mDJEUi6YNBTL4kQIbimDOwAsJOPyQ3K0fREKZ1uZDPJ9OemT3CfxPT+kueHGfEBxCQei/NF7vfVeWz5/31zUBmdX2ErFVV/ZsXK9yG5TdWEvIMQRHKbDCnoj/v80zHvS0rpXfR0ECjum97e+5j6xxirza++5h8JvsL51lob56iEJNGMU+U4/8Lv9zd1fINgbqV9ysTvZWiv0q/CnfJCgqJEHRN3kvosr2a7KCJzOwFj36KJ8fnNefnUbPXGZzrhbZ5Qr8meSwLTfL8qQ7r+2+r5LNOvL3qFNWSTgMrIRTT8Ock8QykATgmVGWRjjwb+ak7mQmbLlIuaUwNm1KP3Qzhz/Gh5ip8cmzTokg1yf8zSDUM4BDq5ZTqZ5MlTYp6+66GRLfYYw0IQ9KreVCw2qqqz8iXSBVk6z5ZbHus99CRc/s5JMicvjddzvTyF//DXYkkOX17duSby9U+qHXc3o/PQSxDSkvRiJiGjlGBAYWuNs7sNJAwj/lSbLlfD4EWI3/R7y+nLWTTTfjNGESqUddXl/h1NfzkHFaXKMLBWzCjoAevqGngVAglZVk3Fo0JfP4PD/1gcoRCEV0fAw7FtANkIxfc6PztT2J1BTWymdAAoq0zp7plgdd5z5cEpcfWdj1m9sKa5GXo01W8ZEH1420Ik5d6Whew/wlH5e8LP/6sBSY2GsR+J84T8y9Y/bn5JfLtcHg+LnvboDNQ/nWvBJtVf352Q50L2kH7k0vR5WHU65OEuHOfIbwDRzRDnp1uqumSHOGFYs+GLryFzzJQMqYC1CKEm4mKEF/YtCyDd++HPUdaTjC1qKiI7ExBnsoNlBgbsn3KM2EtkQj6oYj4lV+bhBxyPvuW/blZneNas9pwXmPN9dAxqAeP/zqDl0JwN8OOlU04/u0p66h/0Bbqh4RD9Cy2KqVfrfoMt8m/q4WJn0iwvNTvQZVgH9clpBBrkIguMDnRQPqtBmBJT2JQtkUHn7vO6i4dy6OLSYj6PG9hUnDwtlMjNIOJYkRm5NXBA2W5N7PtjJs6NB0z4fRsMzD0t1xBBYUOigIuWSPbDgpApDUoUtHgWI7emzherjlOhnLmBrXzV3LmJcHFDZRgxjzrqJzUhMyg8X79dRw4XJydCV3Hm+kxBAEcU20GYhg60TK0dc55bR3DLWkHyzuJNhjQibqyO4dDGME9V1P27Gd2yz1P061AlHjT7FlWr2Vm76mUrHLYQxta2GJHgTtjeCBxfi6sfDW9AKImH6dlerRwBlVyvpq4b7M8IoVrXwBAVjslKpF0WT+arQv4Y6m1yoRQCZPzSvqX+mp8/cZqqTsKfmfgtem7O4uQ5rpWvv8SHquvgj1AhSuFmCwyHbOSC4+eTaBDD89krWjTsSyLq+0yLI7GFH/TApB9RC5egpBjN0bVURaYDRFO41nOMiJMlB3cFNH+ixEd0UMY9BTmXeY+qFysafOkL8ybzfGmQsSgTurUxn/IH9Xxnrq2klgkL+X/kcCG/M7ql+4cnmr5jJRbQcpr+TJIqlZw5uKhzIjFBuIxpmfAgXst1nfn0yruwIT/YxrUkmV9KOcNGZSFmMiXBcpzKxqrwPBCaDncji88hOVjWcEjhvNJaafq3f7PSP+6vn1841wkz0hFPfM+6TIzlL8pQ8efevurI3CW8iV8ME+ecILm7A0Wc7u7pbRvxvHRmMhaSLKbgnYSupaNobqnlwI4x6bI5Hfym03lZzh6YyYZl+uQDZvV84z2h05BRoJqGz0k5gkoWGto2CY5INd6l4PYw0QdcbpBAwmC0LoaGeq7fargUj1Sndb4fSayLMaqYAqagzd2zx2ZQN4MpcLLsFgbKQkV6zQrr0Mb7E0EnWmOQD6lGyCiV3HpOmPx/3vdJdsx2mMXuxIH6N5wgkxxIOYFj0DOkrHTSD1oKA10dLOiNmAvfZcNosm1mwpokVogeoe/YLrvQKXtji2stNSWhsMTz9nfpgDtAg9WyWwYCN6pDO2Y+Fxwoiaw/nVisWKDU1/p3a8Vlb4A6DEmhfP4OqhVsLmfgMp1W5hJX5Nhfa39HiyuE6iX321PVPhIOYnRDwAeF4dt+DmZqzV3sai+K6/SqJ4D7u1KWpMYGNs4DUt63Jakyr50AoGYEgClFjIHKCZls83OfLAFbdiLXweO5fYiLttrOxBCZDaDuBtnI8PCIZi2ImkKVzls6+jMjsDpKgm8W7C58FxXyamG6qg1UxY6R2QwPxUPP2AJ8ch/CfaAd1bczsazn/LXNi6fn0b64J3lKHU5PfisR6Cf/zCk5t7LDs/INPMGQRkAUPgv62OZJcEHnobupML8Z5OeIiY4PJysp2nCjuKvEBWBjDqxHtsIU9RsBjtjmOj0/XFe9VRpAeFXTjm4xXGYNkgTfMn7LHXIm0pao59wLcSuC5VkBadI7l6o0G2FaiOSdEzr4ohfa7KDIA25gOmt7W3/sX/NRjs4BtAffcZToNnR/90DZWmiwykdI8BJOREAaUEKIvKdsgu5ulOUgg/49GD0UTiRoxnxcx+/OKbgDuZxcUjYef7a8gn2KcnFCms1ivggmXpqZMgktrzD6lOqcys+BF0k7IObwbcTu9CxLH0i+N+aC1zNOkKQTDSo1bKqtyCgU5DhphmgR4KEkPJen23YHlm8iPIteBGUbnMDPiO7XuyP5XUzUmnz9SehDakI8okzsVG/FjDx+0w7Dk38qe3S5Vtu+QRq8ICBX2g72nYZr6+oRWJSourPdan4lqr3BjB1Pa+1t8pizKRU72noBN+KD3sNNQ0MiAIVsc58+7aRKx105W+DC+VVRvoWLoCVabaD33UuKXfsLtPYLnZ0eAmganjgU0h6W3vm8U5E7FWoNS1WMrDI+TVh0kyQMseV683IMaoRAjYmrPqQJ9sXFT3qRci3s0I3uNHapmiYJY4Eu5c9lEgn4iCaUVaf/nW1RTW3K+FFlbe40iH9zjXrrICjoLOZ33qnCeq9gU9b9KKOgb3J4Q4yuplgGHrMuX9Y6i8y159Mwhtee/FwmMt2o3KW8aRAiVOmABATs4kbg6BT4DgNRwH6iYHaM7oHSWoiG2zCNyHYdVpEQAGzBXUU8C3vVNdavXC7mkV6BPOPpdDcAF5WltnQJoqoOiSefVcR0YybZ2knARXqVLGYtDAt2F9iKOIWTG7QR/YBRk3oBiI/TxaCfqEXc+VpsW5Ldl1w2d9l+D17uIAItbuuHSRBliLTuOKlp9oKv7UIlRr2Zdem8Xk6y4YPDdaJvFfZwTPNZa+YHivFusJzcyNb/i6WcabUC0HowWqx+moDCu4A4/P5Al7qeY47ffMJqH6c00h0jSXsnISS5TG1/1G0bJLMIS+nDI8WXHBbUFmCHU30LL59BTrNyltInY1XBH3lGKhY2ZAgwG8eTAvi3OjjT45NwRxPQ+/M04hGb0emembELqBP1FVJGTeFkuJoy6RwlXLm+nrYiu0fNmxeGWM4RNuRz8NTCqYlFlBMVs82svjWdb+K5j5i0rhoeDqoQtc1McdXoo80wO5M60sy7aauSdCLK2PNciG47JbOYLDaWV5K67z4hGTX8MgRwWFmPt7uEIul94NwgBumMk547CrpLtJ/mnjW1kVLaNAZeCMprMEJabZ5kcHpCoOFffo/TvVkL4MFZmsFhKCXVIrkzR3zt/H1ju8RCwKTi3mYakC59md0dinXNcO4y4MPcP5O8pqS3Zxkg90467gVCPnSI+D9o0JV5b9R9ZyvIHs3xfy5ATvJGjZmYGitZRcLTMQVThS6Wgs9pjbZ1GswDtAsk4EE+NsA3sBnaCkubFAn4W6pWXEqZ+nTKv9oYXGEDQTNYU2OEPyec5rYXmz5m81pu3momcvZjz/z9uvxXdN3HPZ953+eCMUtSbB/5Ckqh3rmiLK7C6Zqus/cTBBDJtRxU8gMjK2D8+T5rH4ebTUM9NhByqb0A6hxERyMS2tcpgIIJ8HFKaXit3PG8ri33SWzFR7b2ykF4+524BqUgrN6p3hPRWIOcaNBRL3+FUOJFg5YNeh8zyzrYoaRkVAKpm4sgh8QaGSecfiHcoCjO0ZnxmEyxHGI7/8gKmGkPYc6MwFfjficXCltcY08329Gij1/NvuLiD5171aYWWsaMWgD79hYQjt9xCYfWiMLwwiLLbssEWkS389rIWT4RIccRIELEwUtgeYJvlyq1lDJu2VsIQG1p7ZdcHtNLGk/aPH2okTy/SPX7mzk00MOz837IMbf/oZa6RSNI2QmICF7oJuoFI9KhBrmJTHbzgtve/fZb9Y0lWi6jMj1ei+Kc6ReYD33sW12pqxP3HZuIJPtYEdA1Eiw3vRDxLANbIzyFb8kO71hEjgVB16RYHLlmt6vXSlLQirGUYlONNNuzjl55qn2+uVEXYTRrnLeQh9JZsM+nRnc0n9coumpbJG5wzRZabE5HCFtet10hG8SFw3ZBeLvQk4MzvUfYNWYPOtSN7qyXy7Z5aVCx+5k3+OnYaFPgtoZ9sDSldv3joPd8zO4CVmn9tUFSEGmW+V7f0LBr3oep1PUUFFtT2LOJpAstfctLv+3ujWe8PDw3d6hur1F7uAMVWVf1/VhNDt70uisU63YJHF9GkP9TdMixJz9XkZt5SF5YORgj3sV04YUgaBjjisYJbOH7caPel7T/uiCDdsbwD17WzN15iS4uG1b3nSoSSCKfuoQ1cZ/Qeaw3ngjmwZumWiH6M2DElPcOkAYA1N+Lf1iEdCUek5uxN3LA/wVZZUkizdvs1zv1MQT1E9llp64M6EncavFzMqWAQgHz58v2M7m3AIpbhWqn1rf31mh54C+qJbnG4P0ssx4bnGzC3zVagHXr8xYuBEWgko80bj6pX8d7K6iMbu+njR5+bS/BIB7lYUyDd6obw1BMTaS8lypMv5E+yCkhbqryzm3Sxwv8M+QuoRFAVtPnCbMHQfQHHEmRIW+aqbR/nLIHbH2/QQESd5iagLmLwD6KaJexsPORq0PvuMddLILg+9KjBg6iK04+K0nP3bESdNFY+V/FF299FaYV+qHMSmmk/spagFMEeCAg50b3c3chqSwOb4aqm2RmsfVaDOXqStikolWbehWCOamsCfP0TIQbzcOmezjNRChZLo4nuScB+nRlNLLtWpx5RyhK5mVmz083MuuBmkAXJaJkKYsAUN7Gxh5qtrQrJYkOBzS5ObaSMO2bP1R1m5eGisthF3aBWvMj+SJy7f9RXsVpjg0LwVIKpGBDuF/5XN9avtmn+9pCYEUXr3qvT2JcPOVcEp/tPh/YON1fzSJ/uJMX4+3DoW8Qlgu1q4MI2TSy+xeuphlVD5ayhmsGbO/nShvuaqLarOX2BSJsDoMIVhkCqdLuoSvWuKIAl5gjgLEtX5KV6YrNT7cM9h/ck59Aw+fgPw4XHIODmjqLPD4igswmJJsVsgU4WVsaCSlA/qbuisSSizZEp/4rHQkQWtz6gzHkzsKZx2aDHZBPEtI/jgQaWz8kg0c6D0lAibnihs4uluN8GSoMTrCdGVJX4UP/3vYPbrDUyPbFGfzmXreNKPZu/lYSVowMU8Pg/aId3CN6xgZuwXrrtAlZmjeOgjjIKqVydD0tNNHRimSNkf4UFxuIS6gf81fHgxlVdRovNnIUCt2HobzXI5/QQodaiDLVEgTSTdcSnaUpglICwCDGOviH2h9fN0XrYmoQqXBjv41AKsw2Nejgpia/k5zaLcbNpKc131olpUWWASI4P64AueRVHO9nvY7X1P8Nmxzpm+ukL7NYL7RtIpm8u5uYZeENyH3/qr9Wf4WIH2HFHp24ZGft4g8QVQv6oViMIjQikgHLsgIepMN+/kzVai3Ju2PYw8hWOGq8OdXX51v+mK50tBBVi0hm/djH7UWb2tp+gRskxhILrpHwOfYxMwTTRwVFcYv8TEgfmQ2aJtgG/ekRkiqIoIKOM/THKRq3DrufmtDBMVDLiB4CKZQuWUAcddRpLQ6cfOxdkS/H1kyE8hUryjJLAzrgkjWWx/TiMEtt/1w+7gyd5hXHOA29Cn49VcIYDfBV0BBDc+6INYk3++1AZA+/QxIJlRxb3qnBtEkTNPNwzAtSG1cOzHpz3H9GkI+D0sFg0Ms/2jKmmlaPxUaQEk5Fo7I7nyDbjiKvTtpoCPkgUXj2ACrmzIQaX9KKZAQ+uOqwMh5nyLdcLy8MJQFqXWJk3aSdXD7d8pA8KmejmRvyZ6j3i/f3bpAuWp5Dtb+BXyiPr2iIut/ooN8lWVHJeChcz3aDXLDghaetpJp70kXC4R3VehDdX7c5hSYcdO7HVOJGpeOAEK3hIa3n+zHvkwqSe73XPhEgTdNB9h9Bx6vvWaTk2I3xsLBGfx/GpEbSlNS1k5NyP0VllXVzqtPSEqbLBwUYG2cgX8LWxM2q4QCsDLtLT1Tjr/ZZLgaVNHp5oPFBzfsyY0Uzha6wZIoBDo14/jgJeZQIthHoHxfQivtFxz7ZP5I+YjyA02e+O5XbO/TBwm3MLbaNW/jVbr8HDFts8LTzxCdykoQoaLaDLj7qVfE51Dd7QQKI0WkhPsT1+scXd6I5EhBycrcXwL6BZF9RU/oxHjmnjbUT6x1SZCJ0Zo2jW8tIpZm82X7Fb9kMYZTg+qmysNOLNT8ydRpdjFL4tXqRWeOgoQrwLcl2qAbx6ERsaf4hX8BzqZk2bJhngEAXPi5b2d+CNPImKRgwZoi0xaV2E6VGWZ9FKPOH2oHm4rezikPZCSuLfgUO+MjkQw8WSMryfUC9LTKimHu9IlpLo7Jv3pVhDdKsDoY9IARkG5cCkMF/pbOwii2Kp1m55ReUT9Apv5pUSDBEPJxCmzYMHkp/CsSsPFsS7/9SOf41W1hWD4T91alc2YoUaSprEv+mDZ1P8Fd5x1+ShgHAtyHpIJgqHGyO1R/Pu11qq3AVwD9tOMYUZCiWS/ohT7iQk/ovJbc7WFRY9caBYxCAVgL2lw1VK838hYoQ5et5m81sp/SCHUoEPRAjXaqYt0gOlxwILkbhPiYprMMs8AYAq1Lz+u3GuENlLKowc10kM9lySvhVg/VokS8gYT/LUvSwDXJipmtb0ik7S43Mmm5Th2xsXtobeOtoeoS8nyFxlEAJkxu8Iu0hUmiZhpr+Hh/u/KYdgZSN39ny4lQFB38gM+Ce3t+Wcfj7Cu0rmkkiSvRBbqEHbk9M7hzeGsbNrwMxMSx3MSIaGjHQ4CYlT4tvZcSEMlNGqnrVrm4jMdyMwmiQSgRiBtSArqVtPRwKBidGXr5GnhJPZGCRTFVZXPkt88ExL6tNahAdiaXkuzKUBBR98biPfFqF8xoAmfWFny7xHhrebgboe8oPBio7u37dO/31X5q3vLa0d0tmRiWYHeyRTnwGp+YfwpxxYDnckIvCXGijHYd8nD6R7iAvPrtb36WdnRGgo/kwPxLdXKmNH8N+4jIY7tIrKKzPCFPEfZapPJ2926iygr4TXpgx4mU8GlouIgoCGLYSFxYzbvM/X5Em6rl6svLJKrPmY/2nbzxRa+hJPKUyMotv8M+YRuDnsiiqXy9eRHQU/ZAIDcjGjmBsWUxWW/2OkIplGGfX9rF9NLoIOZ/0ONPNF0+YowpD+ZRHKOBYsRw0NffQZEkfU9cfy3at0P5+g9eVZo/Z8FIAXt6DqwOp7jqiqDCJ0w2CONJlM+GtM4HolEae76oOPXhEvur+MjeRPucVyefaMH9M1D8CTKzw+RgGZ5dRrFOxm9u/WkFv0Hta19BI54nBzvc2TuWy86457pZ5QCDks6xktDiq2QGNhctxzNnwPr7l7iRwv9Vp1HsmLj08WXCe6nFnv/pcL9Wkyc5pVktys/UVvTWxBxQNwUEirj7RvQibWJcreL/KzKwDe8eLC6urTBWh/Wp6PZPhHOcQ+CoXJgrZK0K+G0e7mi9J5dfsQ9iP750kHMK51LEhtgt8uy547CNqaEBCa+CGh1UZmHbsWnfp2Dcm1UEt0d0cNJOQ5qJmmFvn9pLvN2WA3xu3eqU3u5lyn7e+6tq4reoMVa9aJpgDvGaoJzk6BZDRb+Y1HclvVvAcHaawx4hXeU8M6vWfbS7/9K7P1GFQwF9KfW2ypAb08NtYx+XHqBvwgAc9eCJwYbfHxrk4Kbkp3ZQFqDPeWEciqObcEgP/E4cQ7vs1wnW+mINSg1S9Oi0zlQMF+CMi4U9aeR87euqY9Xpimn92s1h1+FZf8DZhYMQoX66rT3N98aIkpJgJwQ/e03bX0yYv+/eQGfKdaF8PzzEpLQNW+AnGSAfJF4rogTIDJYEQSHBXm79ZeKcfCA2CappMr0b2ffirI9WCSgqOBMfyWbiYviibk4kLzgp0aKF+8ww4YQumc5cyz6IMvI4PZKYBopMg43Jdg0MjeXP8o9DNBDvOF7epUQOeMgr0AxCMuijoh9OWZ6UZcp6TjiVM5kTBULIAZgUMEDJW6HtMocI4VkgnBfraz7HD5/JsrolmuFPgVxo4nSfRL4u0V2Lalmj48myMrF+O0H5dEraHW+7T6IjfXVU+lUmw4+JV9JyTU8mr/PoLAJTxrC6RG9xZKp6n4log9ed9h0Gstu0I2QYaaltP1/GhyiBlTi6wI/ExGPHu14dTTRKjDPROzl3F4W4x+GjM17yJ9rYYCPW0GpKbZ60/wohDA3sldUjHyS+mNAQhwJxGvte6RyD6i72aj9ulIZUBxoOJEWO2IB5mvpKB9OJwSUz3U+RJamcfdLFM8xcSzR7DjPrl2tA2c2pOUirQNpYJ+Ri9hCEbhh8PUoPG6unpr3Th7aSKpqUlIR1eBTMiKKJlWyiuS+bCIz5TxYAcqFaihKLOB48c44Q8D6bWk/qOwh/LM+NYP41l5JTrlrw4lK6vgHto0Se+/ueGMCGsM6KMVgKRL12HTGIfrPWvy/tvGI3uWYDOZg2bLGR9+cM1LjrTtWDGeKAYKsKze0rYpcU4uFQnqLic2jjucVHl6HLkPspoFfzqmCxl3Qh2W+zKWo7nV7m5CiYgiqi/czupaIgDwByNCVQVwv3wI/FobEVf2VMZ+TRNmNvBhfnY0KUCKR8qU+ic5yF3kd6d/o3tH/t5AJ7S8gKA0plLEA3Z8sfxc0IjVMS98tm2c+fr2Pka6/jLO7OmPz/t1V6qcTmiaI6zPfwZP8M3QbXjtjr0Ss3dAuDtNNq6YMxWoLzaN1WFegNdX35vxkRuPkPewKpBIH5Y4HQj1WVgZOXiyrY9Ck3cLshX67vZffKMUieES4gftz0SeVaB5hI6U2xa4B+igR56s+7NlxQ5gZozo4j4aEasV8pjvPkYpooymx65ua1Hdu3lRt9IMPbyS7XytH1aCNU3tYmKh/izbpEfzPedb+mktAr1MpDh0CwMSX9f3cVR3hZaJgzpg9WNMB48+9gbdc5QmPN9h3STQdfxJTVwHd40RFRV7qAcGYey+WivL9w7Hrh0wlxHjtFRQdzdBrdLl/6YHK4817GI7e8Q7MrAOUIKZ0IjiOin+iK6hd7VOBRIWN4VaTAUm30/UQOIMVc/RKRtqgG21AgD5Mh9j7BvNM9tovbuVzW8v2b+2oEqvjx72jz5kG7zotnsi2e1DnfapExT4ZuSp5Eh/9jbMVf0IOn2sFR4TUreLCFTHcx2wpXjVxe02vsn8mm4QeaJwRQ8gY1ImuzDpOfsUs2a/Kw0uoHgPwa4WwJmN7wE8/W3ybSEuinoV5oLvvHRUzc1vASuV8vmymcLBjCkN4rdUuPJvRKY7B+ppXgKI7cxlaTynCYYrlUVoZXyLxj35Id0Jz2+UU+xfqc9JxL+9wBEY8dSZAKBCB74ss27AgEJf9b6IQG4aTTRPnovJiNuvPS5a9gPR5TAGDmo1nVlFGsC3Y+4yOkIXZ/D8VvuzKxK4Tk79672vEP+YG9ajDXLY7Kmso7JYylJHbciEiHAn+UG98cyuVWH1D4cU27Di5FBlbUK2MASpz9ikGLHwyoBXjvkHXnKHar9hTk6l8ZUUqpYa4exf3UJ9PvbI7dEVeu/fkD89SzhpGnLJBbl5Z0PC22s/3S60u1+cMdqh4j6mAZJTJQbQKEp1LUCXZXxDZAkOKuceeE0cpuWKCEwV7c7pB0AK6s/8tTYjnlbfMIACRuNLfpyR179JordO0VNtcFjcKg3pJcaVjnRf/nc3QuU6NHkZjHfO+q259rU6xUB+Jrx28va9yPu025NCVoNxZSVZIjYOpUgvTSmbOJw4FAuXmr7NytMoopG2eBpPirIiGuC4yNdgFSaGUgb7+CClrJx8YhTq3UjKsTBK+tHNZgCYzcXnaUMgsCu1oOfJ/QFcl/HaVqjWs4vL57J5OH9DqTu0L0B0bWP+xpc83tlp3r8t1XHQVz0N2bPewhT2UZtFX9bA3h8n04Es0rNBITPHSZajKLHU/dDRTb6wnkBwFu5CPC26/lpYZ5QEgqqEnx/3BL4dTXRaUzi5OKYLZvVv2NPGwk68hVZaow0zIcaPmZe8I/D0H6gL48x2GjIF+jmxkP82CKhKYPGNBRWSCWGsY31BLvwt3JBytfGBpNn0yVtBf9zS7x5g7g1XxsIIsarSA5IplxISRAmYLnUUvvPoM1oGFqrlVpjNmP5mrgW0DYbShki9hdLYtu5vb4PFKISLAuTFR63OOagJvzGAI0lPF8RRcNcikvc3SmPv0X3bks3Rsd/enHIaXOF8pIx+R0iKhwOeu1/LT+k1fqcz4xwVVTlKk+AlIcABFf/26CP2EdD1ny/9Ik/HelMTcA9HwBefWDRNnCMY/Ykh+qTKzNUTBLC4u2h20swc57CVBfzJ6GIqv4mpoRZjdKhnRXc5VxKGZ6zd/4LNAad5FwYiUdi+6lgYLPjSyTgIvSsSK0NDdTSBsndb+aNcws0gCA7CodE63fwDvxfBSkEP1HfFV0u6Q098mC0yQ7CGW4r08r08zEiauuSfCccFsQyN22f5x0H4Z1ANmn8DBNMI2ttHCDL48RpUQ9jvhWa5p/c4POcT7HwSCVuSqkXyaaarwiKVp1RwSJpvNjAQfDGnkx6TtpdbsD+BxlIemcI87XQaERI0NU7vdmIm/WS369vKoRVb9FSGj0++WHZAuwtG9P5WIXsfRUrUDOT82RB5muOjeRQRDux6QfFwNMYyAlwMYKo8LUQKJwwmAuz1OUySQwkiCOla8jVcRSdxDsoEDfhD8Z1JARajnif4kODBaASB/vfihT1RLKHgMIulgC6uGZge07G6qsn7qq3/FdJTLfdnKvPd6vwMX6leh2ZBQuGAXUFeBJBFnafw8M5rLgVhUOMWf74MfmOaC4VRdDocpoIYJYRvfjzTWy2Ezmp21vdLGfVqwc2wgNDJumBDNLrVGEzBqE8c9K1MlV4q5LNOq15f2cU5S2QrFmSUWqpw+zX2WGtN08Y8wIvKqI7twetiPOgeaYNrERQ80yZ6zth7RYH3H4D2aXrdC7g3LvwdTTTx0O2xPlE8396lVpDvV6AJDtD47C2ryq02+ZasrPPT0YUGA09ChUkVspiqkc3RSF6J8QeSTaLEnuEE3L395V737IOn9KKSLW4zv2BCIg2DuBthbtBGj4a13UrFedkcm5WuU/FD327tQANZg2CayS5FlWdXc7iH15Jewztir4PuGV+ZemIEi7oiTtXrMI7Qfm4qh23HVRuY6OLNIKCrKl0rUEEHMxDVjHPZAWo+lJWChUz29NygsGqoAZtqfJDwLmSxA9OQAnMBwEOcokJIIuNM/Q8S+vRRQpKxSdL5/X2BfqA8SNoDU4QxTnvmJzTa2mp8TOTafmz27AZ6H5ibg0EdtnWUdsZNOjk9XsStMmZd6pAl6IBRfhfdgMjVTdRoFxiJH307uPOe8g4OXrQv15SkFEG8AvhaKIG7iheA91J+vnwoMREyrdGXipfjtzTCO3EaSmqQl7q0uXNyfr490urRy5W/rquhEjErW6K0lNjHuBQAX/lbw+iZt5IEYc15H7d4q8zW0NcsbbZX7cps9xd9c7rD0MYJf6090ffRE0iqB0YRSBs4+5ntJjy8NtDCkWGGHaSy7T7LzXQNyWIzMvc/Nw5SsMCuafKcoKsLWZCHX+N2/ZW9O79pGylxhAy5xdZtdcBvgA4gSvV+WrHlbKbmS9feZ4BALE02BWlN8molycz1C/ZyBHAC7BwvlxZbTU/z2JJj4IdMFepcDsd0QWB86MjyjraBJ6NOGAUE1Yk5fMxh4t450YQh5fwo0ccZeg7I8ulTPuDfjQ8Cr6ited2ZcrizZKkwiutzQMzbbkk2U0uKT3sROxnATBk7v7lN9pWT3kEXVswrXyss205ZGUItzquetQWgl5S4IEN25VH/TKyAF3AmtMRr9iE/z8owsJmtflkKmGaSifd2mtU/tsXLpUuHHNb8NI3UdihZX8ZOCZv3+aTvYPyQ/by+XXPvtwT+8AiobDNG0nQmJ/M0iL7+OCGbkehO6wTsL/xpqwAxuwmgmpbNg14JRP8D6SYUkBZnaYrjUU/BSveCNaXsxHmYrvZG9eNzr38AtKG8RGeu/I54zmrWFUtgFgjNnciQoxE7B9vfVaq1Y4t9SycfN650ozs6wRHtipejZP7dI8J4osDJKuJ21qcli3G7klyKtP74R89BarGHhkxFhuGNAGrKjE6ibjRLpaf8L+P+OvkuhT8XVAx+zqwIuRek8hrrNicZhQcyJcYYSkAGiT7g3NKEV6bsoX/4DKvPoJ5MA1VeRQbWei0Jf6dRlF+f+xN8zuei4J3UZEZzPPsNw6yt6tL7hUKj5pyFHVYQLKSpMa8kPebBBS1ZJ1pxF/WitlxiDZIr2BVn1Kw6O9GQYJNoGtPEGpf5bLf/I2BdpCV13arv4kT/pIok4HskdFiKrW9Tboyoyvf9jv9E0iQA+hxDxRcLYHj1K3UFpn4Gj3X87tKMTe93wUmRgTWWknbefOORzMw2zWxT2l4WR1eGKWxXVLqsjzkybY3c0pGY9Sk3bTqsVyA5HAs8i9fkov1xAU5B1gMrK0gaQbGWNNhBJ+oIgrCYL0NrR7ZfS6lr60Pv3Y+VMJjg8gddHhBtiV+DPZJXoL6SN3cA9ap7JAoXw8jewITuaiJhpmBXSStE8L3979K/jv0ZLZC9xHp19I4ASOeZhSwaHTJ048/ge0uMmZmo0WlKNkR8YazD+MsmW73fyo3ifrDTrZt46jBn+QH+y5sJlLqn7WF86P8GYX7bdWauTrEpoMVSOx4jqq4rtDcsi3+VSUGx3TjCnUCFBoXJqnWmnEnuLxForQ+orqgWuymkue0thK6kiBqPxi5sD+ZfGr1bSaN+KooSGQfOFE/L1RqluA3XJzJ44TPTI4jf+ZQ+E8i2a3zQaehZ1xkMyQ62o9wFVVVLLYeH1K0ukoDvqNpMwB9qchwFQh/XM8rvwvJJK2kTkfJaDb+5MIycHUkpQzUKsayOOJFYm4/Yl/SSvdEe6NPmwBGNzCMD1kJ00ufCaMtL/CuWjW4+2QkhjQN8u/0cXi7yvP8Yc71fXrXAUiMcxcV5bTXG/6sdu/5lSKUDEcsfGBrUkm+T8xX4p0/rw5mdwfxB+RXlcFpqz26FusUIPAcLLVY4coIu7n6aBCQIY8z1KG4+SpwaBm1R8BLY0kI04BXL0EFSq4yonA8txukYwvLOxN+qCK61w46csKtqrNrWigzEJv478v2TN7TBma42jPQHI0W2dA3yd18YWY3rblYyXsu8BI2JOavpoyw5KUHAp4HMU4Snaapa5cl/dcViRyDfkR3FhdZJ2eHCFS3oTIGhJRI8L7rrzcKNaCmweCMHfK5LmldQk8AGHBS4vvQvAb2PPRmtX3hoUOqy/3AF5E61/rmuYrBM1LLipojhLLNlZT5b3irfzc0UtXDe0g2wTa3GlWciJpKEb2QCMTKRnXlPLdVGe6yXQowWI/tR2r0c3eOKDBdCmH5piA5v/1Qdc3+F7ancQ0bGRaEjc1nLs82YpTzL6R+yyb863XI9eRNN7yuu5xkN7scF7iNSHWhiFbmL3a0mzuIApvelPR6L49XkxJe9wjeOtGEPfrhBsOXM3quHFe2yo/UogOn48iMHAbh7dA3sLdyVURdqI9wf6s7ONaxZXFRRiwEdLC0Rj1jGn4iT90A+2lnsjAYuToeyop0/rmd8EGahJWze/tOnzJIIHQfI4eGTmcgWNnfeNItKRwz1Vy1xfXDn6w7Ya2QdJiZDOfELB30f+lxWyD/Tv0SiNiw432GSvu5yn/hx2F8eISs5LE3c8Aw8saAzERaP30AFAPkUPhYS+JTplBBDwPzP9pqqGa5pbo/c9OyJ2A6n71Vj68W8QDtAat0bOXbffqg8QlEyLOHMLgPzcEsPbqTl6dL/gZKr9zfn8Elvqy0TlNrIfyK88esa2RrACu4PpbdEqQrK7XIETPUSRM5p7M1giz5mwl5g/31EN7B1NIXrICGKMAEGR16vezk+FrdIDx35eQ2/Taf6z4P8yu01mjNpUzaLSjTye1GfDu3QXALaPMsHDUhwHlOQbbm/u7Gi0utwoEB1WdCJFCVDTKDiGw/r9CmOjNJNsooc6Wrz4CULFec4pJ6WIoJVEvpDZPk3MChTqvUQ+scE5I0ilP2Zam4Nawe0LMXA4nQMyB32qM8epRxIzvtQbr8NDFCFjBvIVd7dDHYJxBurrl9TOzEC6dHQhVsjhwAqDG3GIOo9lP4x480uFRUerxy6eGPYYhC05R/TbnJuxK79t4VEkh/DO6GKPNr3xVHKW7zvbslpvMGGfSRJGTTVNlrZ27ZoqWPKxjwzIUdHcTHbuqMmFjLjRgzbFmQDGLxnzCMVW2JOmOS6bAjw9I5TTHz+S4C2IZBl6+5WFJgm81T7Na6A+WW+/NaCPhVEdwTz3ZMrQMXXBE5ZtxpB896qIlVFfhHcjVMEpLqxYmPvebqvYNZMfz+Ap1MEWF47oinemlgnHJrc+9AAZDf2TbuugD6EHEhDyPMsvo8uMyoxuxmao6TiVYwTCaYywVQ01ubF4qZYMYAv7eCFRLSeEKG0Wh3Hk4eKUp6TC3anGkxQFR8+NxqsagVTZ7H3srNmm+jzgTgCjYBhv/mgkcfQBPV4qgEgB78eJaCmcimynoxdlVjS8F0oPodegwO6KK9KRf1I5yGeWld/QBusWkJfPsjurcDwGEDiQLI6FI+pochmlU9g571/rl4vCg8DNQzQ87zjbSe+DgXSroGdEHiCJPk97bNhGvAMZJk1Mo/gr2pGanKSBOxlQj0huz12xq6ONmjVD3eHenV218YNX1//JZ97+xLc055n2K+eOOclX/J5AZE7gfgnh3KukEB++rln/JHtCDnWvTnQW+DtlhtybR9PsyIXRhy+0Bz5/hwifuTKBQPYgm8zIRHfaYMoYx7hA1J63TJF2S92hIZKopDGEsoDMGfRLZ0XzAqDGRlW1dmmr/ho3/oj9lewywGTsztT9dmQ0NABzUOJ/sqyi3s5cx3gJfc4r3pIIexbmUkuCAabYRkIKqg96VpSwxEbYGrQKu+nPKxVk2kPWcoVgnfZHorFLg8I9wE+A55whO2jV9R31WmCo1uKA058vKWYSBKL30jBrFavs4ibOqvJSmNMxcBA4pRKOUFlFgPx2v5QEufAS43rWcjZYh6JV7d/xAEqmws2r2LJTEAlfxw9vxC8lpQTDcGn805/1ZHOfLwx1RxJ4hNPoIVSO3+cD5Sl8azx4/A7WI2pR6QkAIwo7YDkKRs6vlTKACKGwl3ULXVzFssujyns1sRWyBQQhmvCrsPe8ZaEQlUsxHy2gf6k/5eIkwFaBO/oataiHhtmPJ0pm+SakYMxbV0IpHjTBWrdgcZ4xQ+rVaODxv8s6S83e4DEAyUhjYCwZnV2GDg6C4/NG0coy3anLlrE36Yrnt0yE4tXXY6Ys5zv9mXeQAu6staiKpcOfHxROb3xYloxEFkmTgZ4p1EDqwSfPg3pj+DanT3FfyhMyMVqU2WLCUPIm/xyfxJsEK+uIZLR3SyEju13W78KtkuE4G0CJdfeU/OeZdgO5lXDZe8L412pjIesV+N5btkitNkDIHeXtwMNE8IlzLRIL5RSYmWXceQu6MghmLPfykFCtHNP7FcJasxemait1N5NJ0MbrRcUkrBQ/yCnEYIgZzK16ShemY8RilmECwxdytXRAvJ2Ow5N1y29Ltb/WVBSH1YLFxt9ZZwJTfq/aKZvC4Y8votqWh1QiAp7yELSFTgUol1B6hy5EFa//QJP2pJ482n+8Ol5fdXtf77AxIbMeEKzbNFsXOk/WBvirwluQaY6SmxBj/W7J2PAyjLUbOYU6fzsS3+lLtaRZnXKL5leSDYX/mIVq7UqEu43fA7slT0FezUrdv87TCEsqndh67S6+Mdn3wzPX+/k2AE13/DhOXzGYf8KZxmWX4tXUXrBfg5uN573An/ASabRoblkDmGyOziOE7VfCInQeJelhqox2TuUcSoWH1De+pg8kLOYWPMhz+Be+yZf+uSrks9qKyfVTFXqxKhU6Jo2abU54o00wRCM42Bvsz8QcdY1aY4fLEZsvwmUDG+j9NK1sNEKRI4n8YYp7p4LELsbkrhjF6wmmZA7TSK5zTAi1g8w2Iy4gWW/XGLwrp6FiLq30ROr2QKnL0nJREhttA0ziWWQt+Q6ZW8gkptAnSOt02EILjozO4IFfvoWyOMQXgpaxPxHwNtjMwRFGCbJNHREV1iZEdQwmQxBKNjV4WhiSK4zuhPGMxYx2Pe6rM+zDy2MJYbctd8lwwSksQyo9oqY9wWmF/5C63e9gYy5d4O/FFPBDqePv5AzXv+WxCVPtUzZa76kH4QUuRrhc7Xb+76TusdFVAezLi93XFjywIuYNJhHOYXWr6T0wzLFgp+r76u0RpruvtnhY63NPnYf5pxtocb4bdKWeqoXhjHK8l0M4GF7ZN6T+sgbEYXZidZ+vbWVPH2WAZ3m43jbPgkeNL/rRjMXiEOCU86R6jawkmTLBxyV2dcK+Az/Kifb29F2z+S2Q9uPB4px6r23LzXhgdyPDNiJ6XIPP2UpUSTB063+/yT+31uAakmS0Y8mCgCRNCnnIrs9H1ZP/fYJAPAgucnSVvimU+JQcdqzoZS/IVJB2TLeYTCwZUHZMuEd6JAHA5FCuRemLcUq6Eev/EjF/oeGjS73Rbx/B8U4wM7Wh767UvJiMKX8g4eO5DgQfmmFTSGLBDBC9fORYYKE4Hy5TfcXklWC1NKkLML8FEhGchjHn5s5GjBpoczZBGEtv5M0iFLFZRqzvrJ2ydpjZzQTb+KKYOjG5tuYIUvsTKRtdoGVqheshP0DY780fIjbxlmYfa71S/GB+9ysEGD9kqRB2VmliiDfhqxwW01Kwwyhe8FB3u/3niXUXSxBGxgKT1FrPBwnTDpqm8yLhpY1XNt22sZBLQ5nkjsOZkeV7l0hRWW2QazVds5HKmQk70slYdPn73rrCoV5wLJR2nSyTSDB4r2s/sRgV4t4nXidm0LwlxINxjDTeleJwnD7eC5S3QqeDnATta4BglDzM+W1z5rqOd7zcDXil3Qko/gzk2HfwpMF2X2tHiclsieAw3DGDNM30ikERkjdYLTfM7Dsg4ov8DhMlPLRmHAdxK62sGGkudIiwHVyhyHcOgvWSqwMU2uwQ4WPuqKzWfA2B7TEB4LCmvPyCiYQEQZVj2uTzfNRT7ojkozjFMSHXAeXsCPVvv+wsVL19vgoLTt9RkDb2tfRbkot9I8Xuu+8DiWxFOeLmnPOmh4pP6WMMqeb7zI2fsLUc4EYgVhASA9H+VdpLpYLGTZvebmV/fTIE7U8+RsbUjGSN810rwSqeVdWrNj7GvJoNGa7P7/r4BZ3P++rwrH/5sQIOWPGQXwki8E417qxnuZpHbNbCNngPPBawNnjcgB3Je5GvCbRFIF8rkd+99XNXleRqdTHmsZtF+GFXivWlGfwnjADjl4yYTvpExzH2Ocmh6KwH+hmkRFLX5nGSWV8u3xJFU6R2VMfWD9k/yCrkGAGdxBIDxOJojcKCas1y598e2T+zY/w1hiEo4Ca09If2lO7SBKiKPFmEtoP4qyqxPEgxUzREr2sBJ2QJ36kE4kc7+YxnIAUF2uA8Xq3U315GQjFsAlG0Cqn467tWw5Lbplz4pbVj9k+XS3vTUCiHSgRwZJxKsz/qCbPllGh21ML7rMKDem1NuHLZFSESaUG+5TjR38ae1XNb8eLabZRxwcK3faxHfECD3Y5OLnroUtDdaUuUILZXo3d8d4wr9AltKrwonS3Yb/+APa2QvvTFT7O/gni+serCBwXBjkT1qp8sIKVjwsAaRkgM7X/DfpCKVQ/NU6PXIHoMW1Cn6m8pNI2oQrb3lnQLCogLaPHLExJYmbLfWT8nRH7E5bq9Se8TwfRiAx4MinQFlE44KUulyz/saifpC+FYVe25TSU7sb7E0ieaWt8fmka7yk5r1J6vGSzFSIyOr9XsLPfnfx7h4tM01Xm9jFWLQOuiPhoHbgf9FeEcseeIaBH6SWovJM0WDBD9sQFEZs5x/8FAg3EWeSGpTyeFNaA1qODs50enkAD5QQL3+1R820RZavtE/NcMxi39Jqc06+Vha2imt/AmyqhVxcDUzBBnh1urVxfi3L2RANHPPMi9QHQcMlpKQtXSL6DHUpCmkQJcQbVbQnVag9aDgIWSXduj90EZtgShYXer22Pf0ku7frBZKF07anZ8lOtcVsatnuY0LtgIZC8Niu+Eljf8Xzy9WpwlB1oln1eDBUEOmAwsR69QQIWqBa08N+iYpZUqdQBH9oI7t3RpsCHwzq8ZYGUh2kXPm1kfeJGr6fdZkB7uznnyuhx8Ai9b0PAMFtlG7Cb0XxZAjcDE2LOPh4fH/+2lkuAp5CoduXZ50cv9G6A+xk6xXQkK/SYLuQVWZrSXVWlfWf/pi9mQOOi9wZ+mmiYLKCR78Jw8OSfSdkyhvchq8bAwp55KQwkPj8q/DZ7UfbzlRISc/R+jNQnBaeIklf6O3Pgsv8HfHKTs+l5iIkD09CnTdkzUrgXk8UOnR4Xm4Lc7nJQ14nvNL3i4d9Ry3OOeJ08kV0HeZ4higPjaujGxjJdigX3+4ebsb26vEh6yqxaXnaguPXGp1NXFscHrKu3Q44wBkXkK505CSs6a/uvHEs3jDRh4ZjOCQiRFWFpxPbryBqK7QdDU5Zr/dli5wcFlUhFE5MxVmnuhnDaMccJmTEBDufuVvcGl+olmfxv9L0c97yEKc99dtSxZ4k2Q1DdnKAQGqVwAWLNDR+4nbKY3yQ+5EhLtOQZGUcaKBPydzIyCtZMA3qivAdWiWBsUW2QIdQB1kdPDoEpxOGyF6T70XWQO37+NL8r1JZVVRwuWRUKtP0j6u3P80tagYH2kPfFh4q66FBBhzIK7t3abUdPPKhPLmgR0YKylFag9ichb6b/fjgfpR8xVcYUQrt1tT77szG+u9Th9mcHGVi6/VvY4MEUtJr9NdaFWj1Es5NWdwJLW6ek7LdXDd/+kyR9EB1DXrzkpu7H/mUYLlT/dGso7yeRfqlBXQG+ZKZqQgeiw6i7D47nehnDm+wyLVzQ955PLRwHBBcqmjA8mfhqQwPtJkv+zYgMxmqHu5PtNl60hw2pMU+6PMRKZQ0zNvlx3kD2iXGqfsU79D2jqZiZATC5AaXrR6a/E5co/H566p/LlFXJIregMcRWMLHXRbq3UuSnXj/WvD8mloGC7QO9zzk9XQGECDYBudWJiEIUZO5M2bMSi7Z0O/5W6FgEb9r7PzoJdmmrxdVuRrvovKkDmfDJMphSlsNBsx4d8X1aQ5f5ZBGOpw7kylqVyfLGKXGUAkRgqh6Z+Fj7LfH4LIYbDj5B1FMuuGG677U4Yrw9eQTUPzJU2fUafZ7NjMu48DCV5AG/m1/bIsoZaU0g3V0b+Fni3rYjT9QDFeRCliFKg5aXPX3hjj1kf3BrcHJVp6xbgLkzmhVkKEID09TlbSqylXIkzLsbCve6i+DnlWRtqPSzKQQSqUH9neU9MsORMaFSllNPZPsUm2rrAwm6KS4Wt3fNltu9IXr6cHxhVjgCc63J7IUOTtK+qAYZZLXqJQ8mY8/A7DsQEXNGoRVj5v7m5ci8RgktMC6lJwwz5I3Opp8K3KHhdf1SRa4ckIAl1HvYeHmUgae46hbMsK99AjXeuQW5MBfXY16HTi0SmfgW0jaKqF/ZbFRTZ8J+69VdfDS37u086hMtXtqopUwIJhP3vWmAn/nOLDlyVe6wiq6g4GZMuqdtwieSXborG0WKTgRekMSleEFQivj2vPBMZ63NkehXa2HPvwQ/fAAP4oGftz1n+N/BxSGf28otz1q6Cwv5sG5YelXMj6owgUaS0i4dCleXdYjepVvQWsnH5+J2s5Y2V2v30e92vWbnu1XqYrouIhsZFtmEF3DTGVg5l4Jt1X1StANPV1chNDJHnTzHhVJZ9kJPRQp/vYK6Wa3aArGPTxcmnKg5AHOSz7Yv3Qf5xVRMV+3AZeEnihFioNUDQ+sf9p2Xzy2/DBNyNDIN29wd9tDxZV0+UztgGCxQ1OjL5PnkZjN8qvrJhuPmgSbU9D2SjG/lMPH5d4b/VSY4ATnp5301ZuGqypXIi3LAq6iYy/D3ML2AKVheyB+Tqpce3xjdhOKC6j2U5gWyaeFdOnLTOngSTAB6ELx/MYEB02HV/F2OQ2CudN2+A7aNwsSHYyTq0Sg8WZj2F2RWvQrdqIJcXm+Dc/6J3iVUED+lzjBnjr0GAHcWqiPhDqql/JfxmkJ79LxqREdfqNzGalgUOm4BRQozM0PYEBlythTW/FkCLhQp9vkqXQFRYdJIS8Dqp7p5UdIymYx/7F9qn0q/Ry3dZz3Gw/t/XN1bBkaGEdKC45wwSgA8O15IXBSl9PyZEQ+tH+D/+oXSAB/QtlPmD09eSDVKoJQk7YJf4PqPGkJUJ2fufMUsKxd4/qUoLpQBvVbSKjcg4ruepiCWn0Zt3DvAXDv2n+yVpycr9JcL8lfkULrbSil/KEYUIOX4+9jQtEaPWsKeu1d45jYiuPKCCn5qKFiJ5oVOMEN/C33h/ExpNGAOc2cplunqATx2jrX1uEZ/ZVWVDlbIE6GHA5DmuvXKZ3mtB7tKu0JKVkDCH30iE5fK303aS6vTlqL3tZWcP/MQxcWqteYIU5BsFrp/RhzHKf3UhqihR1JJmzg6VWxal3gXQ8+fb9CGL4jZOJjfJQHA/z9He60Rv92AgJhRcbbYfBagdWauh5KQAiZ0fBCr5ckQ02xfHi/ynTyBqG6TM6s+al6P5R3eiRFUvJZPb5rCTvpxsMaRSZcNefRIDMn/8g21DihNi2lAli/pGZW3WEfDBZ/ScbCUMUbr6/IWsjGnTNUlRmjDHzDSmkv2S+Xd2r7P1T+3zn6/My7PY4levn+VbrjoSKN3ZNBN3VCXb3esnUEET+Ec+GH5JNiUFtu9m/aM/pSeuPo1WkPZr5w8zzkz7qU3Qi7a48YhN9QoGtRo9qZRE10ONUJGmJVR34QqjNkZdSGo+onA4UkZmZF4jmhPpWGtPZMrluqo8IZR9FbsEK1a5deC2R5yHvV0jHN3HAgELV9EiMIqdJ+Sv6wGvp/kUushTOpO/f3oLEpL7A+0Ez4g2LSOj9pa93KPp5reyll8TnteAWZANb6OGhkHQuhicT4kZyL+9dl7VSw4EQrH5NkFBA5CX8r6ZUBCfClK5U5e9e9EuDHDoyy/T7wY9v9kYeR2BiruiJvLQoqSOZOcD6biW6oZRREETjxAPp/bdqWFVHvb84YMyAUKO2Q+rq3rjCIOMkJ6A2ekxn3dqMt9b+FeR0+Gswzeig7xrvdQAk0di/3dJMWkzTVOcr0e2nb5MZGKkcYeAP/VMDcSDDrGwb8V+cfxyhZvMRH6nqAaUBw7njiOr5kRwnyMfpFEtcIpadeEo3fXy1nlQ6BF/LeSvDrkUwDZ2eK0U4A1vJzmp0Li/YCojhIXDwpqSB8NQPGf1AbFLKtEJ6qmQhetH7R5whg79RXv1pVWA9mR81lr4HZ3aMgJmbuK0rNM5zY5Rds3eCJj95Jo29rHZ5n2PDeTFSZrlwuMxySUrjyqWkUAV7TEV/G25MUIIZ85OJxGh+4O7sRVDhU847DX8nQZ5dl5a5Avf9bJA1kIY5pqFYsxwdwJFkaDp61fdpQdfOz5j+vlIG/rPx/oJMDav0PIwQusnZmZknjFvw3adeg/n6h8wmrnaTXo1F6yjlcNdg52ixs2VCT1GIpNbbSMHY2GRODV7Za/ROieVufuH56an8gbwI74H6SCofsuBZk/mkE8T9h7fOjKvV+U3YP6B90aK2GGLA9obw1mhtPO5zlj3nY3U63H7IOnuidjRBmLavDz4jXzgMmvpr6jfscZMnhLW1LWIPs9RgAJqtAgcLFwI2vl1oaM009ND1v4k+FVXc4V8b0MCSYH1XBtKIwGid0wRAq6QdVcUBSFkEiE9X755lYegzjlfffr0sk27s3naRCSIety/xi8EIEeFPvH8sppQ1XCE4jKN3kI2t3oZ7rF0FkCtIjt5Q/82cHgVSZRDD1TJ0L3AF15+jCH4+jinlFZVjDobU+oZyfjND78Aj28Xx4lnttag4llf+8yi12+9ce7rIU7bNldht32xUQVx5rvJf874yBy4ozW5gkA2ZvheT07+NMJCda6mdEfdo3VfbFDbyurxZSjmA5H3m4MtSfwGUiCk2T6LIq0x/O/NPZ1eYOGa8i632CufL+a21UG9eSh9WhMtp2F3fGLz6BPJUJ9X+RzFBP9/aoLqyNER7/1kSKV4uED0uXriWnYclHGh8s6UhzKHoU49pyyHOR0/fBEh89saYwj7P6cxRnB+P0UH3XEdD4wUPXoUvtnd2w2cwUlq3jXoYuVfAUgbvfd1/1emgrYsyLgucYL8IA/EAsNZRfg+tZsk4sDB3tTNE/WrmiPeAVldummGiCjz0p8dZHfwNUMmf2AsVRpxmcThWN8N0EHrNiU03DZzEo4PStgYVYaqGM+IoCKLSt1Vj4AubjKyOk+6Wm9TTVF8BKo85xTBvfOQv75lsnc2kA8kvtfXDF+A47h/EDa73SEEblGmoYq49bft9lNFa2vi7IIZT/bYtK/FwZcnCxaa5l9rtlH3zWm17tppcUF7tukpctG6gxPBw199BZQgPTMxoBvhqrHKuXWHK6PKOYoe3iXBzKZWsLxWrYHDVULrN/kDrRFMK7tgiX6KMNrMAT0AkohzYNpefnm/T3rxzYhWuOs3+YlvTp41/ZdC+Bv1LIKZbWWZGDWVo6DSKLe6bWUh1VMlrFgDBnwn0Wepm3EzGiuol9KmyFOPDMUWsv4FXCgyu5uCMatUTVltQ9DG5ZFTGoem52w41/jFzYlHWeuu0FyusAcMGuNsBTeLyg+R9EBLAaA1rry/eqfQtEy8ERqxLnW7L1HGKhg7jxSuBfePSW7oa3xXI3Avt/t69QzDyvw2q1lCF3IUk6QMYXxiW0M7XvviYV52SxZV8IehKOxlUz62DcJ8sFdqoy7/ukyqWVUMDXkCRuTbZUoLJfp81Q/FoBCmHCDZpyc0dAu1hgSwF1I0W3PFIWu/HgMUg6ZxidFSYN3xaekyJ2yWu5PDWFweIddtoOHAoZkTopq9xE8P2Dcm0KNDxT1JUPa8R8gAQGsNfMptQQXT2+aZdOtTke43faqBYc6TEuP07V4y7I7y3u7FsJWwg2ylzZIMaFP1vacIpWCVeKyQ8U+PxCkl36eXtH76uhmBglVbgW3Vnl8hNMde3OS7qWGYhomID8LFAWgjMPIsApYjXZMGONOJfErx3d4nYJx5toPwSoa3AirHwaNMtRFUGO47Mw8GKFB9KCpmjrdWPG/Y5f4fA65ueK4L3vWXOt7A1WS9smelkE8CTtcn+d0bjA09vyGYs3PhFPCFrb4OILuzqShe0OurSOIe4F/2kekwFiN0UT6GrtKJT2KuQ1l9TX0AmpiufPoeg3jPrsJvD7nTQ6XAV5zTs67au/sdmToB4UWQo6yg5xBSBI+mEKXXGNelEoa73vtXoq3DAz6Am6SZKE5kR58f3xPh/e6XuM53Hfome8VacqS8+Q4kOR3CTJqpMYSSBnur4jvu30J4hAXwHeEGlCfarqOMlNFrhOviht5fWFLbM30CS21DRlZDzwMtQA3z6QMi/6QFXi87uri20p0L0hgw9v7BZ5X40ufiryU+8joeNhTw4s0vezd4CPPZoK3maZtrcRTa9i34tE8qA8CUD7Rqc8schCFmWI+dn7McmK5VCtttOzchbzeperxCha59B78MX3oe5yM3CETjAv+A/ljSFyVz0aOUhusAiKKXp9KCvBSsVRSj0SHyw7DTCPCgGo0bDUlDgDJ//Dm0y+fSzdQUD4O25fV+csLSqB24KJLixW1hh++bOKt3/IJudGqCMbn7v+h4KYIu2+YyZhtuVld9hT1jU57FM3RI9DF1qp/f+RDz8j6qw8kdVXf1PddYGO2r1pET9bz2XSHS/7QCSJfVSX6ZoqTxbAL3wNpHdlKmCP/czGVbB1MR2jJ6cWVx8Qrozrek9YppYrCEFuxoZyCZKOz2zeJMJPr8eN/Drn7AaFUMTtYbrhQw1hk4hnOXzBPgYbliG94NylvELaDrC6xln6st2EK6LKXQvuIpk90MhiG53bvWUp/uJhTY5lDNUe/MQRLJCBXSlw0k/KfZ2h5PKHtOULxBcoz3PysEhjkXOjlEIumxh4R2TL0JGnQ/1NEukgMY+kscy813a5eKU1ZW+vj1IhFiZ7buPfeWjL2LikIvuLak46ChxxQgsRRoi9D3aq5QjVTnSOLIjpXRcZqt1hzLb5nwq6bOF5fR1z5mkBbZfQXgLVkQkSwTtA5hkm0ZQj9QcaxOF6Yku2UGrivJwDkaGCOfJ6BXPk1/oKkxRYwo+2r7B55fpqvy5oQedLVzFckCRGTbmCBq8jApbi0TArfnh/mazWvwJiQrXD+VG+mgNxXIWGcaeEfMZkCX31p7LXYm1cEfxD5cPpM9C1uyfYZuQkyxeSh2FTJcFV2hWOMSP89pKGq2A3/gS5vuDLVpI9GWUiW2QrduBdKYZxpqTZNJHufkeACNGl9wK2+d/+Cz8XzIYYYcV2mF7HozgVKFIzmogWRQQhsf3I+KQJk0vpU5Z9mNzt1zOvwnCmWESgrhHi+Q6hYvFeqcq/YAd1n7Kg5Lqh4l2TBY+NdUg8dF5ZkuwQ/iDdrPRSdU9RzhfMEhjS6W8t144+X2RQItTbMgxrQGE7Fm05HZONXIjrgTHUXUu2xM21ikyvKWRIOVbyt90AIjGxqML4x6LLW0Qh9V6T5OBoCRVnHPwIKBBdpB3iQHthCQiDRzxYGEqpqHQG1r3AmbQFCHk++FglGVAXHzMXqiWvBLqSEYvWMN5o/GMiNADGZyyQsq+AoIrhANGZk+kG5LJLXUuYq7ZXY7azYv6t+UVD266Y/cZlcbojAaJBP69bDbxXs9k1DPwEqkf3Qxf+GmEi21Wi90qoXB6n5Ljf2BqivSMuuiihRKdlevdZmCm1WTwyI/3lxMe1528tEENs18PAV23fUdX14+4MWOsXkIz+xcaHg2SNRuNrlbF6BiynImth65BqqEQ5aTj8Gt3/Q7/xRM/Vj0i/wmav5PzYiRwPojBmB0UrqWUJqbJ0d8BNmBQ0Yuztv4qLO21sSB9nDKrMx7BP3gYo+IGqGlEFTsNdwwa5PIX/FgJXrXHWwYZ8hzqhSzZ6ht3gc8Ls3qee9gkddyh5EBVbHIQKJr+AW8wSO0fmZhArVh5JGioE5lXk3H4X3lmxfKxAMRDfIpOnQHjm6AbbNopAl8v18j0o95L/Lci4i5lSqrtCiVanhgiAI/w6JupQMKMAsT67DjsHduj9agCL9oNZXJzF1da81Tevom6vSTzPRQEGahCLI5OJSR+f4FqLZha2wQQ/5xTPH+q7p1UPcLhc0IQag5aSAf4wH40m+xZl4m4gzzAs/f0Ezfs16VzW1xdaYtNBMj1n8qAKc3XO9nlyrdND4zU1vpU/OYnHtOSkptHcVi1wNMGlEB2GCCqySNFjU/q69OEHskiGRkb+K5a+BZpVPbATsbdXliILTbncOkd1mjdi993aUlCbtNvVX+GCbAMuckOyZcwJxD8F9yf+jQAga9jBQLQSo3qwott70ztouTzXUJ23jzpwvIoXeyH/jofk7QFuxz73pdQnru4QCJOkr5FdqEwpb/Jgl3dlDvg7E4Op3w33ICM0dtgMWim1+Ekg5gUA5V52yMKrVnJXPLAHNpekwYKOTWayUN97Vv+GAZiY26FuyX+i7O3f02sHE9j7npj7EOTcC1nE5bLTNih34rgS1vNCimCLJNBx6zeb/h/KtAeNr9rviEW0I9v4C1x6GPC/S2J/e854vHVE418b+6kExxluT5UPaLRwc3nEL2A/XzeBwl63xMKbaLGZwwVlr+N+E1JtaEQphCzLGTWJh7DRb/JjurtnCtdMjISyNRP/kXC5jyswYrflim1ZDzb118TFg0G8b5rwrT0aKn+WMRU/V5321+CwrCbliV72bMnHGIy9ZISE/AFrTKyqou2uE9b360GqWx4w4W+Qp7BLkX90K1GTOz0XE4fDe4EfvYFRVNbrVzG3ZYQyi+2LjDEATrhi2edJK1UwzpkAhfSXrO0KjkBpaHpn5acYbFD8qi0Th+L9gZH3o8lCwTIoR/gQ1tmywEc9ZaowFK/7O/9WwQzHyQAF5FUDgWsscXkRykb30TCtQeM+abKklvx1au4itsqSw4qjWh1gZgb2R3XQJbNL6f55jnacLQIgdpbRMoE+PKixISPlOQ0qNYFotE8S4C/INMpTBERh6hJndfZK2LbhsYXSIHr0G07DGCJvtKgxA9Eevsaxn6/5GZTx+iFLnYYgafnEcL6TwgjKPT2y6l4WKPs4Bq2iNOTTxIukDt8y0WvECv+M8fJT7O0lWOVE8/1s18c46zAGq/SlY/zJf2SoCq/uJ1EKDrztcF52xUw7naXmx4KSIoOljPfvC49DbrUd4dQaxU3oucJuA1H5s3vPo0ufMKbHOLaSMrf03uCh6OZFfs5MMrkVKfBxQJNBz1iZDk3EysUP1pZDuxhKpB/9wUiwwdlEmg9tusQakJlcdbf2/Ypv6FwD5hHXZcznWF14+XgeH6ftkuKaq2COX3S13/7WgWD26rH3vVd1lPIn25/m90fnLbrUY5mhN1b1+3l629J1VMHFkHcfKMlIETF7MA0R5rp4MU+XTaBTN0jXWpymKQXTK8CwtOLuh9uFSTEixdXci+MoCmBQM+GaZgorz+jFtxBFQOVKspOVyyYpIGd6OwshnB6uaKqyUZLtZr2FgvKy/w//X3pSPQO2o7x3aeP/IxOuDHSI++7zix7lb5596rH8jDQgMgla1YOv3QupA7wjpBNTfJldrBViW19lyKOsPBXu2ZEIPXNAPBxE4+qWqkMsUzMHOLftGg9OcaP1Ku/Ih/oscj3Cp5viy4GBp3pKQBtEa3JQ6diaZz0oIDafxI+i0UrHpyltMmqVFkhK9oqQ0NTLmxxNmGazGU20clGQhiHXiyGB8n5AbAiBGEE4XKLbmDOjzQG26UlLc7poM+D8WnxB34XciQVhEOI/fK8heGES1Qvoqn1kPRqjxcFunp2aBYuE46lIyDnncwObSiG1R4AfKsEF4zyzORHrnx54ybRfZhjI0oxLjmAAe5Iq3yTac1oBB8HEXDHrUBl9JXN6fyi17qhK71Hk4OC3szm4wzPI+mtkttcHPICPVpWP6p6OZ5me5bmH8UF69mDplFAqTrnC5ehMPX+MeaQe+X5SdfBT6XnswABWe2k0S1WJuW2729AZkrSvSZ3e76AOKB4wtvM0r081i5nyGQ3eFL/yPf3k4w8Z1B0CbhPLRNGsSInvUO5A1S/oWIawlq8XgQ+h33XGyatASOWCnUyPCr0T+ra0YmrGwyHOKm+dtRLXJVc3c4XuVXeVnk/0Jv/Kvq07P2JmbgHIHLFlVmbhkOgPAqxra92qWv7A6c+pus5PpYCdXZcOyUx8Quz1bJUgeUsVwcpaZI6o8B/uMQhdYgA2o6FeuSwcGT9KQFH/2cXdOe+GAb47a07p5buYvPz/OD+kzSJ8/dvfsamqZbTVdWqGnX7ZB/w/eDNSKv2tAlxDUaBbGXSUFREPHuVyjbrGmQvAL+d4NeRlOlxknq5Va5CicSsoukFSLryMqvqR34VzkIKwxs0gYdIosr2HUiKzxom/sRC2Sb97Nv9Nf4bTN6W0icXlEMk4Oqidj8hSW06tbVa0C+Bz5VjBL9zt9wY5yOUYNTn0o2iG7Bd1HW3vCc7+GLfAAG24HVHH6INPQOyXiodN2Tdd2sKXZw6FfKSJaFXCT/16t2oHyx+fciNWNKnbgxrCGVbC3JABFJNCgTQsJ/XxizEyyucrs9CMiPrEoarfMqUfGwJlFt6zKC8pu2W1AcxmbY/ckiRCeyG3cPhHBQyxZtmjk/8sFsxJtTQA2edgMbqJhsJ2MtxV0nZSimWLYChUGJ4ZlnXInHWR/jeUh2yHacXsJRGujFul5kc+SLKpiWUsUDc/dT+2xZBMZpk+vFkdm/ge4C//LAj4Im4haor4XBLeEYgVlwiRNHkS5RVgmr9L+uITn4i4DWX8eSHRodB+jJh4KpUugKqW66GGqyLxnphycuxUp6kZKkThhuyfUyUWHvgr2tTR8sGJjwH8Cf/ypJUCOYgrR8dTD5RSUnwXZ3Y9RH5zSNsX7dEwifPwl9M1e4OgaaOX+SS5yXoUVzrXNcnM07Rr1nz0T3D9hxuqh+VvcBjcJArdkw0wWWgYwgW9M2QD4hK4xLSwaS6aK+uoWdYXvpJ6UEqsg8/UtuyfQ+1CGhiDXJaaX8ikXq6c527RMWc1noYCeDzc6XqgDRf8HrQKOxYlM7TFp3Gat0Trs3y+RL4uxfpFwubtqABvooQCHsrhzYmVYgcxeqOGWEC9TCWcbSmvO/qFgJhOarx22xRdBOz9j3Fci2cSgaVq0/cjdshxK3H5lyDI7n/KU4ws3Rb2+khDhP/gEstWWsgN9qjQoFpR3YJdziVjpGLmtI6wx0SPfIh8QLWiKh5UvWhvdA9H+0yK7V8ALqvWs5KeOCVTP9UqOV48iqEuA19Ad4pxJv1cfBFGJR8c+62CH+PQYSv62S9ZLrz/nQTfTNFe9RfNJMZch5dbRZNiprhhGc0LuZx3Nev05IiO5nVTdCFdJJ0jHfQOTJHXyU2HovWVmMVPCvJPyw3gSR2pVSq1/twMBTKU5Knd27DXsIEgtNP1NU2yGgWA7179VsH20HrRJPgskXoNn6LTgotsrfuSyEqpojJhTBAqkwdhFJIcYb0QJqUA5Pzc9Mb9Vw/Ul73PXjH062o7K+C3ozuhyvKxdNKx4EUDPw9BN0Iw0TnuIr7kckf0tthJzepcLGb2EB8wKWf9ot4xl2go6xNLkvA6/hNEooFEBTF9N1djpoRd4FhUnXRtiQVdDY2POXnz+pvkZYWfODGHhJKL2rNrECJkrhiRm8unX178pQJk5sufESsEFqirEsF2WjW8SP3qSsbn1HOWZoW0pOwRu0X83aKF6padDeRPyjDa4wa4XW2lqFJ0+0VlwzwiVfks4emxfjNWym3U0EiWgMJIqMNtjgLD8FVUi4afWk5Og5mLbjT8NvUdsBqfD4cnNOHLq/nWGjs1Qcb7ZnchgqiotVK0L3BhE0JNpnpA1rIAHExRuUP9CW7E32PhMwnpagLn0eIlU4+/wY564vvJXUdcrRTGJrE/hg/EUjdpJlkZDKE6pmd/DVcuXTAnIsfminXBvmrePoxkrTaI6zx13Uo8hdg45KS6QvWUmd3T+UhENRwFPsdDf1EVMBaFPDziYP2DvvSYxlFjDMrt6+CYxUZWb8+hnQ3sl7oVF3CD6Mym9U2IFdxIyu9zBpOzbrEHC0HsprQ9mQZGSpWlj/IRH94W9UQrVgeZgYRCXxhriYjAo28I9i3J4w17huS3aV1P6eSPPgRnXEUwKx5EjiWMgpdSIbcOY7GnN8Ee3JhqhClZi299HDDSIi1PerZJ1g6XGdqZcaiEj2Sb0usXch8O1S2nmjQFD/lNAiccqC2xp60nbBibBXYL9IRAnlAheZABgCPSwp0jPBxvQVa0W7EEvrQwGeqK1sLyoWj4IaE36YPTzsO/1U4GbJ54LoUukhKeZ/LpjhxN99zcs9Frsr4dud1dmKVZNJhcDIQI4nQhQNJGufyDY/4tU3x79Ucq9+fXvYb2OaJLf76gZvRjf+B9u0MpByodgN0Feuf0gGnSH2dURWhqbZ9rBiayMuibWETvC8vDfF/6AlfxBcy+bpKsEDCCq2ZfxWbrYRZes4OtsYwcFwZnB0PWm201ahfnGfenRbtejFgaxmolaakU/OtUrVp3e+Mot1sYzydXhtoSjYhJ+gcOqFkTiJqWWUBhdN/lGqF/1Z/bjAL4N5JgutGYRP/w1fCwwI+qZ4cFFn6CK5RVxBAeFxd8cNOfdY9Hhpe6lEVyirskodIHa6f7cDfqAsw2C9aToxbau9elfqRN02GyipwrwNU2v85bgrwzzXg/URvQ2fwlXryjMIbvGXxPUEzltvtAUdnKbxzqI4ELyjqdkxQfoLpmhZ9/iOXtyNl+nPAbWhFFvNZB5kTEv4ZXKShhNnIXIMk4+LyPB/FdmzDnbYOLMCN+kC9mI7Jg23Rwq+zDzXNmhPjSJXnBd9XUxNVGZ7MgzgDs1HmnJwXdwTZpVm3Fxzz6dtb5r/TOGZu2r5svJb8Mgo/GzShsibWf7fbnk37u9lNMZpj4ohL11V0tJyCpOIVKIvrDFATKCLIwmxk4Wg/pJVrgWlQZ6LahI7a8xwDsI3xgxDGXHez3pk4v859G2VRje/DB+60rNKIDmUVz6Jz/EM00Ucbu1Js3OOZl9qjqgC0dLngYvkJ4Ev2WGsaAET9Jfrmgsc7VXllRc1s98o+/1JTRXA+HIG6Ng6RuaPHpULL+D2J7ezAKgM9BpalCoQxkmyxo/htt7Co6cTsGibbKk2kGovfFvWiHlBlPFofUP0ZYY9EcyWbbt3vcGf4gVLk11+OP53so5rCdc1uwNzicVeVCK2O47fpSglTE8Z1wJ2aPlo/swOUS+5ow/xNKiKXjAJzIFRlQ9302epAkSde7qtcQtd2ob9r5NSgl59bkzNG3A8mlUbeyPP/XXVbPnkzdHihwPQ1GMvmeMb5RJbF1plP+2LjfRZAXVDPmMyuGEN/g3wzC9xOKmaN7+FU2WcKMfqER3vhsi5nQGOJCQCaOV3erYRMKocQBsgNRytIY9JKgm5ELUOrfFaEtNB3Samy+7HHBDIZLBWHmBXlfusxSc5i0t2cawRIpLgPAQl6m8Qt4jS6lsUhgkAPZTTUMwvNXO1IeET622Qyby07oCP6MVu2PL5H+Q1N7VkrDVejFnYn8QWbY7hq0JV+DhdIOve5rllmAZaysSLIxl1Uljj8LzdtxMBEonwdWPqGbB78kMEwjdsI7tTch0WcIvp/0tVpyk6j2AUOqp5iF5ZXzl9V0XNO6vTOVvPbtT7G8Tg8X9uYEuxWWAKzbAVtqb9zGinpYveNdZtWoD7LS9l1Xrow3FHEJifg4teOuka10EFYsHG74wSOpduBkZDGE7V7pUH+seX28iNl1PhLLcicnOfEt3pRoUuCDJtmMySGdgN5873Cvx3TuMDxk6FqM1wODfCPKdAhnPsPsrEOI1bL/2CcZGvwZp6mgV0khHR0BAnrgptRUiwUYUVZibk01vdPZwoJYs6n391ZUhaLLehxmugtvQfiMm4k+rx/1ZoI/hmtMqvzY8VIpvEBe0eIdJTjwVmMvcbOimFUWxpyU9fLO3QJEtPPIfUCOnQHtKzyYuTOKmpMmu6/Knbq+c0nuEMM80wRr1dfZRwCjxQExkCW6Pf8lQLSPAO7oE7F4fwApwsUrlKvOE5tGcNNUIAlXdYsNZoCQ7bgdyEMa6X02WddHHYdtQDlBBrDlx0tNClPFAa8+MKagQb0FERh3sQ4vuFfIiesPY7Yz7982DOTERvk2RYxkhtuVxTzliJbu7R4milfDdla6lzQfVT+sZbASSCQTS5wwf5i0Xq0NYfjHKQjY84Y8inj4rFBU5nOPfhV/Ib5n2THVPdID1Zwhwyq4PVRLORLS4V4SsQb9jocoAiqx96jImcbBq0wgeOfFQCzbIHh2dTWDTEpoxzJZQYccgVYSeGX6yXRLst2O9M8sARKHoQCJubaUP/6NXVsYBpCWzWPBlyP/1Q8q/gWq/2zNEXjHmg7+S4Y3P6wYbTIHPRPCPW1vrpWkEq4jHkhUqtbh+f5B2aI2f2KukxBa5u8ziD9CNOcfYYIiGx2d/YzF8t2vbVJ1FEVrV1NwK23oGgHXnfRBY4Ya33G8ifONpFtPjkj1m/qSjQx7JRrLxjN48NtiwxgcH7Pgs6oSkoHtT2aGFKvwydlGiYlZWUf56YZlAcXp8CW6jF8GyvzgPOwvMD/uHAQLYHawJcxi1Vnt8VvAwU/xK5yhT/n7xedrU7ZaoVfohFaZC651IOLSm7PWKIlne9/ara6iA2AxYyBsRhyQAQ5wf09yNVOKbX5IPx1XPXt983kpxihn9PD09NcreePhMvZkr2+C9FOq7FEzg5R1xIZY+67z4IDn3PZedxR0sfeUSxwI1btq3BhOfIwnyTsabbjvZomJOqTONZUUnwE1mfy2pH+MGGspGSvsGg8JPWI6u+lQyBAyK1nA8q9G6x8dVvbo/pCEwcPkxHVzNBr3wx3OxFdLSFjiosGLFY2DXw47oI9UQPAXAV5Mon/yujq8KWluTgV7M1uUIDorjXLbLQX7vWqQWW1smBUwjEo1NB5TH2k0b0bj0yNJrlqGqDpp8KoYhZbFA9tpoqI5+iCOqcSpscpZjwpImDCiPLTLMozv8Kx//9li5gM4S+Xk2Ndwf5/VS53Vn3VBtC5H59lVMgqe9EbrjIFNDHF4yaUCw+/XBsgoR5uSRhq6kr64bVUtr3oEdFHYpzD95O+fHnCR2cpzdAM6pvHHim5VGP4uRm6MJTjRiloAEMBKH9wIHylrZia5p+7nXLuQFaaCcaabQiIpRixRBHx8CWXaflDaEAQ20HVaqCD3Fmnhp0Uc5HLMLTLGRG4gPYwOssNS9umXwj0h/XhT4GrRb1SbwSY73NOC/+z4Ysy1NKmpvFwIG5YqxYLAEj6gM/mxioKFBg0ePa/eQEsMyM24WylEgNLFs9Lr6wp1c+DL7IeI8Gm0+g5EuedenE3vqnZ15diqLjepC0lZYy1Et0PC51SotNAt+sET20UFIL9miDiRalNGR1LYM8lrd7A10HWN5rlIzq2xCMqDnHX+KPHRwpwFUIPZFZkl5R2095Rp8EiaaYKnkQfyZk4EVBijhAd6O2gS031KeLipSyf2e+aSk+ZSmaM6AWHtIZ3O9URqWWTUSYJJVZVGs+M8QmUAoibi+5tgV3k+xRwOvIItDRI9AqpZ1XGbXyZjLJWXitE0RGmFoa4c3cQklDgJtyZFVJlLZGKH31JFZDRtO7IRzASHoy3rOfgLErqiuu1XU3q/3ep28JNq/xMVAywxKt1tNURDwjXW9E9a0/YBIXZQ4PWJN4bcsp08sB2RJbAZDvGnHIaQfrIFIZu6e2FleOVHuEOdVy2ZVVExNbO5EpmBguYQFf1A75ZVb3FFdWRG04qzZ5Brmz3OwGY5NCj4uxXzWc9pUOTks75+qjv8NXJjhEm7cbJnH4oCdL7I6t3TUE2HoJoevyzh6HVdDbdttcnisdnZSd2Ti/DAVDO9PbwNdJr74wBUHVLvea+yMOgBDDnBv8KQ/6ips8PPlIr0OcWZsOPy77mXiGlWKRuhQb05SYVZvTxJwddLzdRSo9txciC2y2+rgrhJOOYt8qRux7XfN2YTstZYgD/bvTPo1SXAnBlBDcYLCwGzxAFgqVNnGMox989OvDOlMU1u0OY68dfrwWOFa415f1+RmqHwWLndf3Uc+ChHXUlxzKLqhAd5VDnVPlvupGPh8QkFCaWYwxZs7RiTCyHns4WuXq8GZvzQRUOAfne+Kpevqj7m+IYHDHAxi3os08P484hhDNP2gnwaaOS/T4Cso3uvY+Xkp0sv/t7NuwCLPHAkv+oBf47rnlWZxr3mFBP5Mt6+42STt+rI/TkmQz7cw40RiAECZtnW8xKhB7n7Eser2fnFA9zo5qlICNjk9dZ7RZPnJE8xZAwhuNBxHnVr/dzQgnSJ9IlJ3nRVbJy3X0zu+zoHeH996sXnuSpnfx6yOTQddZUGiN02VNVeYDiqJzqfo0zC4eC1RdhNrpbwfBu7MSwvPoen9lUhdqFhA17D0+ED+CZjfAjMF3q4IazrlIsPdvWnPMZchK5CNLgbAJn6EYW7upYS35RsM587708FM3XuRC6ndTOx7kbP3MyesPbNPplByic2oE3Y9BUVy2Mzi0Gj73nX/5yeqYfEtk9WHlvGcUHIQq1Xuagi385g0OZj3QfIJlXtT0GOIZf+qO/z1MdSEVnrVEpse1fO9fKHvh2C0wDSWu1oEYEya+8UPGf/fxyqmkmr+QOJy7w9XEBwF1RW9JV+jBpP0uOtaGiyzbIFjsO7Qbcv1kQypzbbvm/1n+zkMlcpJ6yhiE66uYo3ayKmTS2dszALnaKtrPSf0oN0gPEQGsfOJyJ2T3zPzYW5Bn6O8AhRlHTT4x1Ol1iZ/LA3K3KX6X1liklRMqR2JIoMSwG8fAWLTSueCAouTEF3/Jw1CfbRTQRG84WPk3/57mOsaCQUuwYgeFdzavmxuy0UNIm51nTHGPDXE4aLuVfU46MKAWC966wWUW2lIaRkpDb1iN7cJ2V5ngj/JSxLQgZtxGhCcCtWz/kt8e3op8JoIjBMgYpR836YFMhPfUYwuspNGk6+tSuvtYPizmh9Ai8Iq6FFyWx+giwcj6wXHIDqAsP3QwigxprnDMya5ldJTVl+tTafH1UjbwG3z7zuw/4i0HKWMNamQKIpaZQxsu+RoupvC+rmTosfKabGEv8PdorhzS2oM0lGxNBLH0c0UxiTV8/0UCon3qpmMI9HoaD46QutLkT1n9FiWBuUMMl2FaI0aMuh3z60Mh2Vl9uihHgnxmCyqqKwsYl2s9BAiLqS6cZo21zt7uiaPMRkBgn+wolTiH9kv1ZJPeRNCvpbhUwL/pkAKTZfh4FSh5SLLBQYm3sNCge/PuoQRE1MFueBK7hB5Na7jD3Jt1fkpqbDz2RCo183dlf2nA9KYZa8lr/fDHLEAyFIYLxMs1k9DMemqSILOnGnTPYAneM4+HdVzAAYom9VPwnEBcj4P8hoaJMqiXU3mqSREnBY0hofx4wogmKfHPd6Yx+XdfQWuZ1UFTdWW/30QbR8go8/88mscd+tsebgRiCLlq90NFCjdiBj3exV871qTv6jseeLO5Fr2GzjgbitQ/Hgg/jGcirDwXsgSWU4Cqd8UDNqvXpwYgv//EYsjHPd/oXO6vo1FSaU4F9Ii3ZftzwDEJHuLuDtIV9QTDcbBWApioqX173j1kefzBEskHjyNAc8UeNkimfaUv34lZQa8in/xrWhwB7du5JI5k53z6B9HU9Pmythqev8srClsaut3G9HYx2Uzh5XeGGY/TbFPLzV1E1cAKbmc3WLj8llQm5sptUlqrvDkebXxycFDitxcGKc8NfU/ZzEb1CphkFUVkWx4vP/yupaDsrG1ki3aoP1+isJzZ1l+ocDhwxwWCCIznmV0PAx/RF4JbHzXqmKtIBGRNSWHLNtDpBrfPJa2Mg7sn+3qkyKTXeS43mApi2HYj+Yj3vfQXP10KSX0le6JWclI/hki1wGUTPi9f6le3VOCMrQhUTHC+2RkZPKXB9Je9ly5CVUv3yw9d8Mkh8HK9ZYRagNsH9jOEWzUr4RGpqOzbIclSbQlbdN9+ds7w89xOz3dxlf3X5rLUAtnSwbtddQqdZZC/xbpC3OodJ7l/eoNmeu1rsPlesFBY0CxSaNeQoFsk3Uj93l+1gfK6+5oPSiOa+wVvkggA5dqDVwQlVkxbZKyzYn0ZddN9Gi0pNdc+c8oq5gjbbxHEfMaMa6QEz4kkAs+yWkNgYK0325th1wxUBlcCiqGqhYYPHq6rNxPpNga7TgwyD2L72WFbUvjCHLGhmTV2pxsLs4wkWJK3DP6ks/U1HAxEe8+RbUm/LwqHNKt0PvqbFz6UZW9XKdgcXonHjVx8K9x7fgTwmMqmCVYdvC06Lc7Ka5pTHTTv8kMR9p8nwoVgwJfWeIsZupUf3t+bwX0+efosMtCox0G1e7Ea7cOgqEcup0l12ruwGFI18nA6rsWc3Rd7GiCOzV/pKoj7uO0nFGWmW0vmZN7OQArkF9HhRT/oCsnawnKIwqTPG83qR07PcCFzT01W82edr9zOV/Dd6GiZKzFmh47OB0S3lL6vy9ePRCsfPikUbuFLUUEdSWEJ99Bs7RDmFycYpJlhZR89J54M4e+dyA1qoOgWrQy8Mdkemld/txjZF/+QKzXAiejfDtg6JfpAAprcmwzT/FoE3UWi4lWbXLR+DfM/w6EYmzXYJGCisiWC3FCmL2o060uyAGKjBo4pHwS6Wbr4tjTZLFz0lavtW+JzKREYS60/lUM1WEgTMavdDin1YQrLbMkirWC6Bc7/i44P0urHPlBIQCm91szqrMNH0OjI6wY+3eGtBajQ81IAfEbmdshHYUsZPRJ4dliz+IcubjeFTfmEUEflGagwNGqZvnh5q4XZA2JA75Hre8AG7dq1vrnxco67sfQAjhI8lmZk8cXzcVtD/YciBQtUU08r2g4Cejvr8QT1GGLDvEXwsvYKLk7EDmJwzZMWwVeLzvUv/a2/kDsK7Ut8UCN3iiu2Q3dQHF9QoYT3lahh6G4U2AWqqHligGsNcC8bEqq2QWxi1vU69AUIhrIwZd+AxVqiERAw3lhQwCJueL8BGRt9CTOOJkmAE6JLpFuEIh1OfBcRw+DvkD3zxG0+hhkpqfiV35sjFZCMQUfJATNfgjxvrZeFmXwPWNjVLiVD9xODhCx6qEWZ5fOPWzixxoslAVZADeB7xIDueewGMma/90Ui514rO2jqBhB8CWViEf4KAEoN2wZmWUU9WO0XzBFbcl+ABS0/J4AF8CPvTCuxGx9OvNM1mTWusCRHo/FLRkvJQu7E7Exey7Hzj+3+SWSB/hEv/s9xe2SZ9s96rktvuB49ENvlVQ+q+zyZAYSw030oT1UJs3BR+9xjhUJL5fk76jKZvsnVjt8l6ZogH9hfIOUQg88SUZ7DaW9z+yGydmHkaycRB2SCKkTl4gHp0xi8+wKQhVRarnEKZBBw6Bmw62V5YhkUCJmLZDibmkDtVi+I5/5K7FsWUXZAMStIPcByCYJKZIO2PJ+aB+03VlIwHmn/z804YpQ2NOjxtRlwSUdoDt2v/bV5lN0rQe+xJXlRmvNknjFfNBg9vbfTrIfElbG/rfmVGIP906MJ1OVKaQbTjid0NucyhEKFZtZDKSA1lsB1dfdIqGHehMJGGcgT+A89jG+LedQx8HoLDD9klWiUYMbzt0rWuXxLpDx4kP4I96fl2BZVQPoy4I1M06rD2Lh1UJ6a+0nVgO6aCCqrRRZjwZyWFMx4K+eKSQ2w6murDDG3nQPxmbtr+zf1ApttMr4NBheGKNWAtVoMyWU8JqEg63g0apr+j1D5NzYeVBK3Wsz1BytCvc+dxT/h/sqBU5mjxAXvoYTBO0+StRvjk+SBUrhvzKesDCLvlaQxJQMOkf0VSFnpOGauXIwHyuvwHTRT/fbGRhPmDLPgGcB8nAWPHhwQ/PQATqZiu33Nt6asIZ/+arrdkf6bquGJd7LADfpDy/6Q2CfSTjZe4vZxQyCgsJfjfjN76UR0AUrt38ctF0d5aEyW+nJgEuPbT5bTeDVVZNSi75CuVlUU+So/mythalsApVlcCrFpyH0pEndqztL1tynPnjLAo5X+2VndnY4INeZXfxVAMedptADOdZGkdbB90qAUfrXIXCQJK310x033Ic/W5OgFsxXgYxcO9l9JB9/O+FICZ2ctB1iUsNGuqYWe05JpgcUX5kOImdMtN6LxEQIIuV2gQNKJmsEGnXSULuXDcnFq49ZQpJd4Wpg8KEXV1hwzbnyiglF+W4VtAILGGUbw32/EwvCXuguWbvb8t9/eKrdmZtlqZiwB8M68TIakLmCMY+lks9te+BpWi6wGhjSKCUeYof+fFmbgm1Ird3xGeAl4/1ZkyLh4CboQVlZX27CizMAiv/ua5lDs4/PDQrL0odUabkoARpjfZ2D+ioaGGEaXK9UXxr0Y8eckPNqEKNLSmUXjUD0qETgCArABfstSAkM1NtkDJcGX5qjXF3s82H2MAwv0ByCm3bbtDw8dI/bo/sDEwFBAtrRDafxYRB2voXzT0nL21ANi4NatddbuaWaYIe2NEQ7gLsFItGyUTwIfu3JQr2QF+49oUH19FqL7KyZ3wiHq02dLs4OXntqFKX65L+T7NgFiTv5fy72Wex4e8oXKoMtOIWNnjDS8NK9WMv6GJ/A2jPUVPnCRhI3xKTm+0GBsyUTr8b18v/DH2J0oSUBzvr1S79V14OfsdMKccEP90Pr8fqW6cT6TZe+3WGA3/uJNU5VmiL1QqEqw2ze+p2iV/J5NvIOO6ySR5sXh4FgHwMws+z3M2CM7ZrX/73Yx5oQHbBzazw8uIsHt8HWbsmJdvMef7TXoo8V79CGXbYN73k3P/YeXegS8Q1y6shK523vJZ4qtpKuDRT+LsCw8ltpKmDoSx9s9Pum/cj/N8eUsJt/3UUQ58lcf14lF95O7vL3fTfM05vE6nWYrPAi/h0aCzyuWH690ibIge/xxoZ7/vXZKbqpFBrLIJy6LCmnNSc8q7XeXkfPGSrdMQIFOo/ZYyKhyohd2BBvDxNZzNu0sybrv557RA8jtU9z+oKhCErwh1YU2YSevj/6dwn6Q9/bba8gXZk+t4Xq6naPI4F9FOLXRxg4QcK2jYufweHKwcxIObw0CgXbX4BUL4MBSxhDht8aI/SRcY6PhpZiwWJOce/8r2X3kx5a4aOb1u2re6votwC9zCJnt/6tP2ykf9J/Tom26cZtUmtFljLptsMT/Al8e/s3Sm6BRqGSrkGWdqTjrlNr9EOsSpkKsqPm4GpxtazWDeiivWloXgQZreK8V1L/iJJ9M8b2MOOHzY2Q8twSNxAXydtzxB8oq9lX0r4Mgz202mGBe+w/UBTLPDFmNYRt+Rf9wLbSmkKrk1Ew9Ue1bE759aWT/Iv35U3ZHDxtetnif+3VtBtZB/PehE+4WQlJzGNvK2EZ5JiC67i19GCj5/Y2CLouXJfDHyU9erp8G989s5EDD2+sMQhFbhI2OEjZ9iM6phTcuM8dUgHKTuaR1oKMgPT6ndCDyC4IJoDUKHSKaHGN79nTg8SP1JAWSkQysBlGCnehFyN/7RvEfOtSnAg973ETerUMDtr8bzvbnmg4YvFHhhdZUwW32txlwTTDX9xW2zy0EC2N7dn42GnGw/NjpjGkYpJMHYe+MKf3mfkGT/g0z9oyQFWEiLX71NXXqqqWtCPm0yag95riHveKl1C0w8L3vLkT41SISdC+5WjELEq6Qn0wcXIn3pRsYDfWvRzqYGDCiFlF7j6rWfArKjxeGzjsZ4+3PV+6nAVGGd4OJYwgaXRYjCX3sW1xWeBRi/2hms75B9oXid9LsenfMT/4sn+KiSzid6ZtcbhAjUd6EmmFnLizpLdUcE7hBF5Exl7hPM8LvsNmK28yGhDOgjuVVd6YPmaGUAPEqU0jdl94JfXIpU3P8jtRSHv/8zhJj44EzvfZ1A6UcNflv+m9ZMby5Ua8EH7LGsu+J8NXV72r/o0hQnTrO40ERsrbDFo4+vwhPHL72/K55181kwZhMnfurxxO0bTRJdGzRPPBQkCJWeK/7N3QnqkJfNYseN/blf4hjOQBB9nA7Mc8O1NsLUrYHVCmEQW4CHVRTUesEk5L4SPGmuUWYDVH+sjSlclNpjXjDQuCmLbQDqd+cGRVfB22xAEJYLK8NqmuQYgok9JY3hxOhVKgObdQlImZuIguCRXpwC/FIj+gxWT68MOWiWjXgvoylWRP2pEFNRmrEpRXBrNcLmI7xSPs3KBlNF1Wb2OKjqnj34qDGpf5iPeTF2ShLNOS+j8p/WN7ly1XgRV4+LhHIYtNvAEMRlKWW1nv4MkDCLdgpz/pNSyGriv2UcdScKcyeZs7ya/vg6r8NuOTNY2ZJ7HggEfXpudVprJhQKhjy0zR7nVNJdY6+zJhYJfNyemoErUv7xwGfgfK15R8zjJHYfRH3H9PlZ8a+t/Zw2wvs6HQeVRNZ0ssO5NMqkjNMPNADBcl1BXfA4YsUOg0ZA50meUKscJA48zU9awUd3d2g7MNeKIcUieET6w0ukdTdUsWbdpwBQnQAP0SThVVSEbmbA4trneYyzWlQr+aflXRiiIySHjBvAm4DVpAJGXv3jBCavftU4ZpVgy4EDm9baIy9/NxBoOcBc8078eE/nxWXNKrmgjFGWtYg7LHxFHi5glZzN7Ya6P6r4BDP9yDq7sCGWX8GLJKwptvnzrX/ngSQywwQ/5gE4MbR4J4c1BbfHssCvBfhQyCBGPsYvEi35K1WS5Tq1LoiR29WOEVUVcis6PEplStFVDgecmsWDdoPg6chiKrHyGF++bXkKQTgOHD1Ylo3PwYmDgGZ+fZbJYn6Q3nsT63l8MoNr0U4AVlwXvd+MN7sO4qe/A9oD90NExpjUsoLkO26Pn6zcN4B3CAaZLG66PxgpcTGsiddiacpErj+YeJQdXkblwNPY5YMIYG+tp0xoj3HXJzxTGesjK9h+nAqzpcMoagKL9sCPZrHCDUDpzjmY55nDsJD1ePu9ZzPLij7KkcXZ8x3OaZPpT0qK9xW9qYCL5wxmaj9p3lXNAZghNRsc7puBDk6ydyqvmrSMXj4iaixfCcLa1xifvEa8higx/qSlYkFTAeLlzRPVJ93zT2DIwunw9OGVZC3r2t5/uKdbtgzRdB1MDzoRhL8DQQ7hUqYiI35y+VeU6gcB4SEhe+jNh0HYGbhgMMt3uAuBjtRxjI+Eyrja0athkP9OXcOHclczXNAabVEbEnL0Wb7grJ9Rn2DmWqzzZ+SJIz2uJVvz5V33rZ+nvuSDpqFV4WmUE5SG32D34SkCNp5CioWTTHqDL46el2DpoXnBnc8joJcwaSKbQDDrEFLiMpBdha1+lfKb23a2vzuZIWDfhf+PezJLSZQ6mvYW0JVqxcMt+Uu6WwoO+g45zW2i3cLmfUFRWxsjbgdoKssSn6h1W0rnxLtpNzWk5WeAuAwXwk33qj7SRn5TpxQNcuIIe+5twrEd/471IBgXSSWNeGtan2T+bJShhwbwT2K7y+0l7fj/YVyIQeRkGlo/9DaEedIPZIw4+flbx6NI7qtrMP5/CeCmxYQyEGetXkp6eTBkoaxhA6Lh0AEDEcR2/890rCNybQSY1xBm+roEjhzN5MuhGizEbn7dDz632usZnYJtql4XqLizGYJjH26jSPNbXPWgP8PtoUMedWxeyNx+/yGa1DJH1wPMDFryzqPnPWZQwXio4xuaQmN0MEGzIPS+xkTDJFqeRwgu0fdHXUN3hcHwl5OTxRV4JWH9ruF0BdPRLlM9PS1b6jOD86z7WI7nxp57bR5g2RiP1P5xHABfS7ql/CSWV/9RIdWuyMBpimsS3Lhshq4yTQPD/z9uk+wElnSYWAKf0gkh/12c5pFUUm0Ys3jooPFsPSVjg6KwuwSPtMGHXQEUyganm3Nudpvg3lWR6xW5GJ+jAfgr9od0f4B3TtXBOCvNxT45ZGISaXTKcZZx3gaClzNcEV3y0Zw0Rv/oS4TtE/geNrfR/BU9qg/l8Sv0G7PzLoDH+H5JsZVv92TGXyWCLK/D3g8neH6yOtyfwHPpUYZAYtXmIqmgCQBl/hKyLU1buCuP4ldHkOhwUcqbWVVrrV5FvAUglj899B2Q5gMBAC8b7eHXEyFJmcO7l3nk3U9SOkg8ntcIXmMLuJEvEyvEuBcrrtLnowmlXIcOdPkQ9F8L5xS2RCUQdCs6r9QwFSS8c3cyR+fxh6dslOxvDuCTahCrgdHo47aMGM8ipWYCTzSdo8f/aW5UmyB9OMQkN4et7KLGIrTnWu66W2nr/i3W8/sxVDLQW8FeY7M0PcEYeOoVzS2XqWkm+/gZtL3dpgydqtCRZz3NPJubsXux/pB08EEroONdKbFV4L26TbQVXdYwf4Bj8ut5lJZoKoCxyo1H2i7QYcjY79ehqbPIsdsDBlX7l4JDlppiLSAr4MEarW+I1vdE5JTEN3q9smUfCrHIGtZP7Un73DbpJL6dSucONkhIE3TAhR0djbpcWxqbq5Ce2sbwQ2f6fhl2Qw8ivQtXho/8idCV44U7FvHHP2/lCzt8zo6WoeHLz13zOl/B4Ss9Quyuf2LJ2QR3VRS8/RDe6LYovPId3W0jJ7i9hqdwkhMOegwBzIqPQcDm9KZ7kqXW8gp6oba3qL2ld1r9cJTFqE475wRcY0brv7R4lmEQRChIEEFB5rhZR+p70XVtJMLA25Hqd1De4X4Y1Aa4nPspU0cb8FEvs4yf4n1ke+Tzh9hN3LYFnKDz71hhZMZcx9nTnPs8K23RVjG8tXA7VmAEEuTcQJnCovsga/rjOjUCp7XXpIjz7Fly6cuasU/8sm+l7jdEzSMIQYvcWcnn1aUwTIZLI/h/+fvc4V20EMTqy4UsjoSd3h3grufdWd/k7S66/xdO66r5sVhKVYkJxKMtMwsGUxuU0obwvGbBTBTDifgsd4MmDa08NbX2z8gPUDLOAeNNx9BwcIQwmJLKokwUE76H4K2qIuXRWPFFphPjioDs8Src/4bpOgULTBoXeeW8wNW8eajp2gdWGjDM51nuQmtPX3VsAa7xK16hFrLsRFDgWBJbR5t1G55K6N6Ge0dAiZCvki7Zt1HQZIwkkyuTWOL8IDDfn6y4aJLW5kqLFtLhHeGgiK5Emk1VadqpUXk5Zws2ktwpyxVcze0/y9gSCWS6uTTNvXf+jGdHPcBRb1e4UPfFBXHoHH649oYwmGMkKQKG4GaF5nKnkir3PByIoHRLuftt3pdnAVjKN8sUDRnFBG0ho1ucwqEX/RWpBRSDRwAihuE28KyI+LGXyQnFef0gpiV8vEAcN6Wv7h38aNQENZWE1anIKe12eO3ZxD66rRKStkcExjtBIqJ3bE1KFnvkeBy8Uq38RX2+MTlHv/9M1OC0DPCfVNYsG596jqyKI5dZ7Top54D4N+weZOcHkH90Q6MyEP6/GqvPqxx44eW+uhFIHnQshKXJxqxTD19+/A/rtWCazA6dzf+hZZuHakJ17Zr6chtcOJshJxZ/qZMl5BI6Jv927bZWAHhnMHZ2w0FNMJ5oY9j3jL/LQbji242Qdf5qpInhhOvQgNlSYEAEwqPGhYraOzuuAmHLAzFRYhYiwPjkRQgk7GwaRj/tKsmFRgbnognynBRmUH6cq9kJnheXub4WVhTkzO9S4Wn2AidmeVebfdijY0tgXtZqFpJZRgmP6l/YcFhjLSr8KaU4R/eL4w5/5ub0UIMq+T/hm98vg28D91w4Yi/E6hhgn7fQq4csoPv7Sg0QZ5vW3B9/Xcp5i1a5dFkFyWAEcUMn1+0yyFTebOkZDEb7URZcZw515hHGF9g67JUhYepg4tBAUmJ7PSAArBfdOCfIoZniArjEW/lwDOxLpwm4HL2PjHIatA+mVz9drtZhqyG1dqAq100FZH6dHTtTlRY9UxYRT3EWmxBbGZokxVau2bllQqLinHEgvhmrbZ4JEVSZXpOHIbinu9jx4ZQXzgUGnhGW2xJ+l/F8tE3zD3ybFhWZNqxTofdYF/djgh7JjKCd8wIoJY5e/9lERrDg6fNtqbtLr1g5Gle4HZAicFSWewC/PzyTLwF2BhnTkzfpDHYH7Zqa44Kqd25nGz/dso/rucq5eNW78O//K5tjhAZiykWcZJbjF5HMvAd899tMkm/RJHSzjTx/xoF73Ka7xreWRnRoos0Xr/10qgSrpGDI72GLRV2LGj8OAo+J3b6wBBS9bN9EWZWa0+h2lEEah9kXcj7dyOTYLREzlCOJKgIbNjHzQc42I/47M8fli6biSCOORpg4mI5XavKsPRSYgzy3q4LCC0CkDx2ylAXHB36jRGrsiFep9PnmXt+ojZSMtTXJoCh13wybQ1BlB8o6F9uEoKfErbJn8fEw11J9MamRSm5qV70uyGmj/+93+X2G16uIfTtwL6TEUwjoJ7L9gL90q6d3KmR/lTYaSaxRsbKCfSJMDDIZIlCjkF4p07B9+ceihzIG4giN/ksJC3X0b/wUGYRog4DkSex31sCR0GT0xjwQbRwkSW+0yDNa3Mx3D4SME5gMFZNuVLAOdoQZcxSof9BHODaJYOQQYIY55ImsOKVPzVxHrhYg8O/ODJig0k6vu/oeeZLwsMmXM7d4hb2btkTclXe9AfemgSQcADJOI401NMYSShCHj17ogGdNB6y2UiodtancfOzIrZQ0rsym94T8DN6LUDdE+Hj6WA8ZFh3Sy5/w1+p4KTEscGlsLc2Q9EIr+OUpU4E3EvqjGryF7xp0oHEXb4nm3YlFi42dV9Iq6FiikPgF1YCjHUSiWk8hFcYypLH1jxN/WWaCBaBbWiRYJSncnarlAYRhXN8SneyGDe6L+EYP6eOxOKIRZzjTd4Hb2uAZf+EGtENDUbpGG7pdUUeIoZpqRr2xV7Isz4neS5d0RaFh6mlMpJ9+/GXFAFx+DpBeO9OW+SAQth81jjgmy5DPBxSSAL1/oR/8SFYkxX7bwys0skEawFRtac/WjEG23EjH+ndlRUGDGMwST+ziFv4icKkWl5DvX0VMPAY/5tK2OaFPUaVrx8Tdamp1lzBuMrhXN4kgS8qbTBq76rVi9OOBB6n3wUrDYonqW0t74xUzLivWy0PzO6/CgiY5XOpPY+hTM5oU3NKAUI1zyGReiFouqzapjP8eLfT9b28ykEtTbbJJpr2KLGLtEQ7MnZx8deyZsDxtEIl4nOru5bepptZnzlIu1wcbLEGK18sbl0tIFBygVGv6uqBoJXtQa9uUy8k0Ivp4P8/sseBBw0/GFWPZZelhwkxBqk6cWKzBKYA78/6JjWB14Cd4c/I/83xpCxWLh6NiJE6KVOgdq3iMDH/VdHLe7NSPQoTVDs1HjNp8txn75qzDs8bFtyro8/sAGywceWlK4vGghcRij6ycuzs6upG0WnaHc4FR/x/hFQpIlSC56nqK1t0MnpVH3HiIS7VsGmQvv6UA5IgiSV7R1/lE5Rm2MsLyozLFnyjbBcVqf4IBRWeXcr4aFPkl35a7VqvP4xAuGdQQZkLps1vfa5W1zYI3BrpPYu/5FdGgW/t75zpo9kR8XdXRlDT4Dq5dweI68rl0DOic7TSWXjFV1fE+5ojytRvjCT7Jt3UzRk10LiIJz3PDuEpQ6I37X0H/BZjeKKC+YkYHWEAt6xPuWCJxCs4HHNv1iDIGJ5AgcT3nYUwpprUSmdaW69X04/FWy+c1ulmfxBadoayqqWcpyK+OR47rlCSRJubYcjrv7LxgbejQBGM3JxLoYNIDm4dQEp/5JMUGja4DkV+YkbKp2dn8ae4dHIpiBZgzt3mXj+6BmRnQpzx+EZr8WbgS03nD8ZzoQUXSHUMONaAmU+etlHOsGZAc1ttwF8JE7wMo2/hpuYJ2aCrmO4BoTX6wsQrWNsWjAlCxuUnn1TEOLJS5Gd0KD9P3QEy7hkxsroOZWr6BTUnJtp9ORrBFozOJTBb5X3lp7orW51dOuh9X+BUP8Wdh6DhUO40AuKFIpbVpe/OUNXYD1eyUfq2PHG6avyRShxxL+6Dy6c2J+ZzLjTy//bC4Hmcd97ImO1p/3vXghgPZAFYtMfK1ykEh/L5s+/Ar/+IapszuBUZZdvOpyK9B7lVFxFwsjK6gTQRFcnb9TBMGROziqRx0PnfD+pou/9uijT8O9bGOzclQ2jvAy+ZzXW1iJjGCatinnVk6kiwghzfqufVvhEosyEjM3R/fHbxWxsQwqrG0FvjU4ZnSTazgXnZAP60++W/Fu8/oCyLrJDn6qrDH71sZwbdNW1k/BePG3ijg575458FUXBy0mbCEsoN44YHd7Obv/dRHtJk2hpjQ0HXk6tLBfbIGqwrREFMQV6HRSuFgtE3w9y6HDompN/kUbK4+uwRozjt+uinQQdkJApJktCbc6RP3QFWQMxlxqfGGng8S95TztI/1LdmYWqvzqUfJTf4ppa/XIjqzZOQ+tlNf7VzSQgKaH6uGhVQ3CA7fj270UYePO5OhXnpHZUDf63bLEVHQ6kN+hVdCtVo8wPXYttvYFskQM6O3Ml4lY1ITaSgLMdBv3XoIsPOMHOiLcJdz+hTv4sNt58AMobfiwt+f1VtDe5azmuKPVt5TkdPvVlzA6/+gNXS1ov2jC+/vesQ86ebes3YMU2NjPk+NwmBfmRgftsZxQG9nj7w+isPsuIaUXZmcx8F1kRp72EWSfkZxfcfhTQB98D0QMLn0xafDPDssuHtUV1XuNQLBCOoETtxjbtId/q7KKrO0ctPE+C+qgjErXMxc28OPMKvBmzgAZPf7hwYWGrTJ9r5/D64tHD+gnf5l2jHm71nGd4K4K3mxj0lLcqbWegdkWN7q2/B1oT9M4RE+IoZS1yV/OWdimVuI1Itxvp9mjZokHTEJsoIU8BaE4B6/m3JrXsflY2zTQYttpdyzFOPX9ezUwKZyqUsaEH2MXmOP8L7j2ddqL2DuQdNy5ZbfoIHF9Ytfyt5LYIrC6N2ddn+c97ONs8tJ0PkBwokE/+rUaRNbGRlo9w9s3MJQQsI9j/VhvSavPoAok8kicZsjgVMyu5i0vIY7lU+6K6pSJPa3NBq2+3WCAwUKJHg7B2OOp9hNyUlsliHu/bQE0RJeIxX3ROgqtWybvy/N2/3tJDDb4nr87NnezR0VFA8QrKU+i+WEAqvJWX2dU45vljxEaAbOZg/AdQaY0htOWSJ+6OhcAFGWQPLCUmda/891wpZoqwlUEH95P94n+1LdCp8YvoYgJhKP+fTR73MzLA+1Hux3ci7PucXthKCmM8keYS/rW5julJqxKLirOJZE5qvOHy01G7MbjZNHdu7lIeHMndMSXV3oYPXJIYubFbQWCVEKKt1GTsXl2AUkiSPLmFYsnLR6E2uoTzVcLWYlo27ORfgMPW4iQfubLNb7+qtOil7BsbBv2cu8YwwNE7Z1nVmtTO2PVHaege1B0omFQL1UpBuLKW5otgw5TCUHsgPiPSv+Rl3rUIFEx4jRBqN9t/ltH0n7MlVZk+cY4uvfQvPTnrQhc1DZPbq5tMuwi9vTdJgiv5KPN3CjDqX1RR1QkdSxlGa1raGCOD9rf9C5bVrTh62hh2HFQx3FI8Oz9Di7nZAz2c9O6gIxZVY4cdKrHsZiMLL6RoyoXPkjs0E3LLVyk6JKPDjAeVuZxhTIJSBTAXSRKO2xP4sZUkOv4QAc7a3D6PBJclvui3RP6M6W7HOeSClS7AqGK0EzQsLDvsMy1yOF1DxZKhYjIaXKeYiOAdi9HbpeRKh2kt/TVbsxYHyGfVjRETB89IOQ3D2bf/l2B8fihOKt1Lfe/gQEB18oC4+Q9R7AWi8I8mXmw6H6XPpcdCSVcnZM9efqL2pipnMzyst6r8mb6JU6Y7+dV2qQbxrab4L4ScAIhv/TkrYOcuu6sCjBsKC1zxT+zUEXAj9b5GFzQ5KiAgYwwQgtRD+ZnRt1FpJhn0cFLDA2Kyovxuk8B7HwaGPwNJeTadOgT3JNSFbEBz4GJPBtEviuzuDv3J5ZPgnoRYamlTFFH7Ff5o1U6jG1fuVXqIKPiCNJvoFbiQF/e6JrXUKD8hymzcNKiLPdSDKcn5MDaL/tvkhWBHBWjfOT3kxRNFeQQ7xTBeay6XOlRwDlIaBUXSlVgC3hTKIf4yfpooiembDIelEOVfjNSeyaXqIexQ/NrJcXzL2Szrb8W5GP/F7ZFN9gMNozbRN3iZAsprNkQw5GpovIDM2DNlKc6CUHeuMmtKVzuHpG6esVoIGBVBR+St1XXQWgOu69CE38t7Fz6lGZJXsyH883jCEatS8YtxiMj8KwS+9xUggOrZwbykMaFnBdM/Y1IgdotNmbsIAetbNOgwQTeTWZjbyU91Hd9mfdBOgvOMoTwIYyMwxINuyML0GQC3eERPpz0qPZ9GLO1k/Ofnzhywfme6eVNSa5KavL29eNk9E9jTukPC0vz79YBMao4NG7X3ZkodQQKLaxSW3lvOL/YrhrNYm33ZMIRsDkFwpS2TslzFHx4UidaujEPo1OA2UrrWT/rBfsZzVkBjVKiNMaLUEsezlrNPXSrYSMB+jUkVYhOY7gsAqo2LDq8pjKOtZZw/4kOgRv8nZnKrJ4Wujh/8uYwEsvenoSjnHsAdluqZaAsUQ2S51QxgFoAqSiv/mtu8i4rZSc/Bw8c36mMTMeht0P77C9qpV9c5F7HU6nGNecyDEquS4bGEeZ+w7W5aX4X0Cjrjg0Q0HFvhMnf5+zP6D94h5LcMVmOv0hehqFWjN3sGKP6TANLBf33kpPk+SxfbE8w8NeSOQ1fpesS/HedjFPUU3qpn8bXyLpRum/PNE03hgjIk4BNHOV07RZZoFzUunqv7EVpGLfsxz9OWcYx23+iiuMrd3ukXtAfDqmOrn8MwjHYnIaM23J83i30hrLF3aA11Y4wWlJhV+xKI1Vs24ypuBn0xfS1NepHTQoZXAD1IaQiBcU40DF7iSCV9GQKzxSzdve86mFzsqqN+dxio6/xNmPq8o9X/3VY5antz38OVwM9PaMfCOqvYbeuFcd/SXrAptICkAW9AXmCnRLEXLxSzQuV8AlvkmW/eS3jBPqT+RZ1VE4sabkOdEbZw3iYcjHDg1SEBtXrLnHN4G7oX1YLp9W/9j1vuTp6qxafwt6AyVr4ciYioZM/txgvAJNxJOl5aQjYY5KAYXdSqYbdiZxo3YMVCOZIlx7W8NtJlTDYotwzysNCu3fb3kvYJwTT9laTGMrpCXxxrSGbGrMvMcCIrdcjYJhzSxP0OWY6IKQae5vRO/w3kGsU3zKK3U271EEQNsNkxhouPpLODCwZwYD6gTfkI3cN6nqo7KSqeCHsRlVqcFY3JbhjFKVK1dUZsAs/C652vYwnstpGxaAPRWvoW2mG2FQ7MHYC2HjAtRCN9ILqi3S0/n04lPLznh0X0Mlkkl5U9OGQdAnZoQ8Y+usR5okK36a/3P6COuDbRR+rwzukOXAadg+5QmNwRUIYNQN7cEs4i0mYulqpcnIhv/jAnADeKLLFvMZgirlZBBcPWL2ZgDlp2Bm9yB1c6t57nQyHF/sdykG0vHMNQrboBVccDdpvLEgaOeiEF9gFg2LPd6s0Tc1hMVSzR9qfdU02oqbXBSPLtff8/C8NSK4X01cUz76x/1aQCQLkDDQGFSFBFBJfbG0uNu7xxCG8zVvEPeoLe9UXAPcT4e/B1aU0LO2xSOpA6Fc22wKy8hko8gWUOebRoY/KpuDD+ZjrQ3BHVawcTmiofv/vQZ/0VYFPaXO1NmSnc7BWuZeUg3GHJRQotL1afMTIbc0VqfLhT/Gy6GKsrjYi0YAvmKpt54LKEexATEcVs04wVLITxuinP5ji8VSSBpBnsPk076J3N5ImOiQiKRzXKgSxK1FgGJoQpOKuPqQkt87iDQyy6odV93x/SXW2taKPiZ50vxdKrSxz6XaFwp5smK8FT1ovHmYKHyVn1wuA9QFbherYflcxesbqkp2wm7iYf6PxZl6CgeNeF0XLl+ZGNaCMei6R7oDzdC3b7f4Y0z9fGze1xBUMOYa64fCn2oOt/osW32dp8daQLaTmquaUKZ1sF2s3AFeKtru843elUIbwINrNuBcA/Q7GdsEHj0ebwwd/+jUuUZy7nN8dW+tV0hyD64CvyNglbaLFFCbEYSlw6REVkYWa6v8Np8W2jQoJ1YH0YpKfx25bhNTpNKoFnL2kAA4cPbCCxl/BW/S3UZI+Q+zGmRxvZBPEFG3hWqHZm9D+f14dR9t0f6U40k92clnMyK5u0YufOAUQn1RZ2C74wadxWW/y1PZ4rBbZJNV4fgqdWTmkssezZSV0dlADKdmClddvPz/GIkL70e78y4LWjYvPCyk6Y7fsvYoX6et4uEZmfs4ivgvt022Tmt45vgaHUyFrcUe9E8etwjh0wSjx/nM9LqkicONk15xIGi0vaudwxbM8t3OoMSCk26u7tPnAyrvMIUIqlpST5mJ1Ba5T/fa9YsaHNymdqWdKIch7nH7iNZwCHJIHCxG4qZgKxVpAihuZHIIur1jp4Bdnj7D+7nitb4gLdx+Qx9IoPpSUup6G6olEouC8BVm5fY7XVjIpkjcSqSpgK28tw24sujNOfX4qXaZSlI/g3cEVkIfDqiI9PhJXMDTaULxViFTOelsds9e4/aNeCMGexYQgWE8cpbGc7ngrioFRDmhIyTR/TnNR2AAaKhP3+2xn+y94YaHgj2LJ4jfEG/SRpLk8Ef9TYaYYRC7btMatsQH8SJPDMVNH3jICttmQrmV7hzjGJAdc48BHJHhq+bOvFT5qWn0mEhi7EWN8WC6DrqqsE7aJVpk820tQuZG7WAJa5x5Rs2SPcfiaogGTQ4asol+lS19RfiKD/hsV3UNsN/rQplzwkADuqRdH6i1ys/7q6I86dCWH0e5NPrs013HaeD1ffTbeNOWtmO+a+Mby7FSu5trZQKLy4Gzmao5GyGuR3ZgRuwfb1vGGUpoG3IMr2tufcYosfFEtWUMFkq0hDiTS6EygI/T74Znrdz+cx3Nh105H8ltjs406FGkxPZ9TKvLElUjnwyIZJg4WKLnWktTRkQNogYUD8zEbI/lvMdhAnImphV4iRyUjCYJ9SNg+QBsNX6JVyoin7BYzrupGYbrdAaMvRPa9uNgSOVmwb5nzEC6eJDxGjoNTt+qtoTJ/iIZ/oBj8EMYF8DIWwF3unjSB3DbURQUd35pLLnw6wae7uK4xc5pJZz8xBnvk1YP8/k2SlvfhryuxSNJfZA7qPElSc9h+SzJCLxPpXvzPUtZDuudb3Pa9YouiqnYSSbeZ46uvJU6hxgyuuXVDW+/nGI8tMJIc4oE3STsMxKiS+IrUUYBwCIcnsSmGARazBO21eJlLu7XfsC0Ar5aR/taCtqRwgKce3A+tZrbWdeMF2nElNOVXwDiEjAgarTbdmEgKU3dK1sLnu8az4rdWRUSfgxB4HSqD1rQmBA0BbO+Bvs+Pjpph+aSaGE3UtF/XPX5SMdtg4kPRxvfb53Y8Kc8ckIZcGqq5sE4kjLcJ92dXooLLVVD0WDKjnP0yaqep9R0wxRL6VVx0VDDXpRh7kzZukCvNDeWTZdUbGB5HjYnldqTby5rEoPCXmLbLmzfgY1E8NM4QanUMvx13RJtFCfSfpJ954+jiqCOwx86IBuOtK3pKu04g6LjFZsqoQ8cStX0TIgylEIOq3+FheYm9kd7bDeT5l6d3RxZNqQ6uXeNRWMRqS5m/+qYcyK2I8EK+QtUNdVCjkSeqDiQ5z41fIuL52U8Ko9M9h7rM41WHVHegO0J1ZJLCuRkk8VNZuQU8GeofqMlaMHALJrV/d2A4/zIkCDcuZli+SiON7HPa3XAarHENFgmNQiT6v0wnca7jCBZwDcHB71J2C9Ck4Ky4pVVsNHJGBhXrwsx/fOIvqYOAGtyN6Yukq7nLVHb65DZoSbL81ti6uFcTVYnBmbpNWjVP4TzXnOHmxFigX8i+GL1rw93La/4Wrq7bxVrORgZHJsIWCXh/zeOfzSy44zLXwzC5CmU5mvbOIs6c1eNmovHUK7bODvbWLkvWoPJUkdVnQso3jCvhbasP//McrYxmrCg3y1KwVv1fxK2LhXjXMksC/6uTFUsGtg+3oNlgrRK1GHT+1QOHvcCZJ6X+2A6f1pHD+h3z4421LnWrM7Pxciw0N+K8oo1IKVFC4BcfkO8/XVB64YFFjx2dBwbwUOMkdpcOdsLey+ned6WW0punKgofTlPeskm8DkII1yqPx94UDUeWUi4v1W2S/FyNy0+nwzXyvy1WW7P6pULO2pJrJGcG3qkHolwqGyTGkm+2aLHCm1il3I0oX8128NKqZFuZW6PjffQ3a6XB3zk8pT9QF3kIKJJqbdARptpgkcvrYmt7ARr9RVELmffBkBQhA32ATka44F7A0P7jpphuQ0RmacfjCyMz1p4IlgCclXatWYgwHqiWACzEFI+jrsgqowjxJSqkts8u0TbCOn+9O/tTiBDForvLPzWuxBwct2flatZc9Yz92V+5oYPwGqEpIkOvbyRfXu3ZYArfQYTC9Xbqw6lk/ZQEAfep/U/ueQZ7FyhexnujH4voP9o4nZWjwARnMTLA9ZUd/uxEPJYlfHyE07byhOzNbIYXLa2ZxM3O6sOQvBzdNANBnMEMi9Wc+Grakl4CqeyiV/Hj44aSyV77KikwOFvYrT2Aq1SCLkyNcycROqecp54/1ObYv8BI9FSwXTDCEvRsr7rHoiSIlLUwIqOCxYWFnhS97ZELu7PfhgrDwe99zMKPsakcw6yzNPeAGXxvVzxPHF15nombV/jQwmWLVIn+nKk/i/3c3Mcd229IpXgAamQZPfVyQwBt0dk+2pSlAQWD3dypD+jTGIB8OD3ecTkwm6UmUwdrU8OMBHi4VxElVZ9TAqjI2e4uO2cn0f3wBptLuaNYoOsjqVgUHZxy/pEqhkEy9mDDy2s+M6RumhpzA/61XUEvxud5lHL6e4VWO4a3FuN0pvkzxl1MHg4cUdHAHK5gWuRSe8MsBAN0bfQJxazUu0saTSTRBXnteNiTiJetRbqTXqM527T4Ctl3dew5uJWa7YFFDbR/Muc8OEPiWbi1E83LDeB4zajjnpD5WZQ=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jRSfPDI9ge04vzIBnkwiOczEJchhKXb9QS172yOppywcJLM38MYug/rZYGiJd1xkXFLT/6YZm9PrhnQZnfJOyBHNuDFoieBooR2XmEUWFEc/A9088K9ue1GFyxGFBs2YHWzQ0oJ7MPHRhYhtpSLSxH3VE5gxY+y3i5+DKhydoKKwy3topPIleNyT7T9rKdXXwfRdNLKO4ot4NL0Ej8FzR/HrEYoYIl+Z3JL5I4aOZBAs0GubM0Dyr21ir2h263pz9ldTWmgp5lPbupawVj0iRQ6Mgj1S+XepdaJnyh1ff7R37FdNxnfdbEWf3iECdmZCgMVws/oVAXUgDzJgjqidDRMFgUmVlqiOdVnKYDGaOTbg3PHOJF0bx8YpIH+u6T+N0y6cBiHyFdoJper140QSz/c2WjZGFeocZJ7MBiLgjz88wK+JQja6UlU9uIaiA1aYrH+N5uW//olaa32SHH0JIsNFEzrSHp5R16V7k9HrM5uRi6IWhIbvCWsBosOOWHU98PJ9cHGLoEbHJLCGWM4K0BXD25niN7LDNSJuqUNByE6SOqk3/rUpW9LNm9AY+xKVDF9oIlFYflbkF1cUpq+pHrxF3G6QSsDBxLHsFEaE3f5q/37jClz1SVB+VdkQXvrvIGGH4r85Eu3CrzErFl+k3BwVnGndg2tU0Co9WG/wfhKxZ9KmkP75Lpce6z9K2kNFcho4tHKzmI7r/Af2NTWNO7PT3hesJ9okE/xCa2ULHHUh0oOf5SGaMRG7xVfS7PBBDksEW4AnTK+qTeZ62zJ0eZe4U/uegsi3d3Dewg/GXDxAxz/fp3TzyT5gb5puWRoFFFnsMVHLKAHdxGAw7ckIw1liffAsL1zItpudMBx8YgvQKIlHQxonO8VkCSF2d5D96/Y+gMMD56EfxF3/Y/UYgE8R+cA7MSSq4DI7TM1Va0sIFYisG6y3OUcq5X8jtuGle1QHewvTSM4MMeTuneoCGp+DyzfY4FVO1+0vjiKuPOiMq82enHn+EbVbEGe+yI/nQPt93I5hnkcLOyXRxPBnggP/y1gIiI505mvmJn0+fE/s+6qPfoN00KgaU1lJcZ9KTVoZfmRltwp/QgJvStVRyeDn7Fh6CSbUqyzjL6dGlOzHjHnsbyZ9FRqcXMa6pqSAAuAsLGP4uvFhRECANTzPqL0k+8ICWVmyx3T5uS9YJwJqPdDQ+ZQhHqAFD7fWBYstN2Ba4rKBIP0L7tHveC2lpq9w+kocNbOXXhXCt6zjIjcflVJgBPICYKxydUpEl6kpr+T0ID5ob603hWzKoHhd/0HAqvdDsB1p27VpEPs/Ga45HljPcFeRVUQy6v/LLtHvTIRvDEcSRmjDpM6xwNVYT3lV4d58apJDw8c6St8N1wxviOgznAPVJJSAo9kpJjgzpELw1v6MLBlo0Gu5LA+g52ENn0DafdaIXiHueC1ox09TmgCiQjtgpvNtms10/BiHY/8mhflo8STywcdQkkVAOhhJd7+yAUvyhRDSuBXd9LvQ4k1dBaVx6ENBVO5lhiB09E/vSCIR82x0yXWXcCQdW7m81Pw82SVP6ug4fZBnXmIus8zSwe4Q3sCwfkUWpHmeRfWRxym36F6UUoDjUwyRRssz/kMpFvrzy8A5d/sHqs0JxRHTJGRmIlaEghaAr5ZbFyI3Yvc6MdBKudmmnrxBvVTzpxKtiLpkVwr6xSNz+ZtU+gBpIXx3gE2aWvftj1yggiRzwZXuYPg90L++ETHbyTfDOGJQkpmNjvrAeYZkMtd8V3Qdv1cKQtB0FpZOx7BxGCwtufloK7nBV3UIWaAKbWe3fMCH8QR/yDTeCQMNToqCqIdu9gI0muFywhaQcnDmdpto2R+ZPCCWbWi3hBBEUiEPDQBFttEZQ7dX8z6rxW/1fNVuHHChn/0ddeuhd6NUuJzPDA2xYV4fMpyMwhBHw6kaB8ntnBAbNAj7cTLSD7hmSQEi6/ehAxb9c1BASnvf630vcITdyz/8ZUTiQAMiV+b5kfs1ukqmSpMUpmpybzTeP5ThsSrMqJKHg+JXk5lk1oq1WLk+8OUFkhYFg0rcAbzxIFkZGSVOUomESIsXj6Ivmkt9qC24AvainBXaSXuEZ7S9bgQbJVq/fd20R/xkqaVuJf6fxjaveW0FmUjwAXMspNzIrTFPGaZXXQycV3ZEiUQlLw1GtM2ysK5KFXGwq7/DG5s5mliW972R5pMU+XVqStXw23XniH8tD55XpIAYGcWcyVwkGPRmQj6s5t7NDDlMw+pFB8EDJY41Yi3t0vuiiGFLkn0AjIcYOnZarjq4DRJBQT3wlDnrFmhCJQm4qbXtEcRdEJkVs31tBULxk/jZFdb95j3fBMcQ33YnTza9iCvEsZtevVCAQqZhjX8c/uuYQExKtCdt7V2pBNIUUX+/j/7/RY/QKJgTH2Ilh+iACRuls+rJiTD8uUULo/zVL5sR2NUUy3zdgLA3BXX6zpXFakZzc0B1SIONSt8FW9fm9Kf7FQTX9heYg0h3z90LTRZh/P/G5E2RkXMNVoIp8tRhC2r7TadSfx7IrE6alw7JB6JpzeyAjz7XAozcRQVxnh1e2fzq5sYUJ4fJlcG41zXY6ymGDANbBDDh3XsHl3MqLIMQIrpa2WWC/rSjEFcQmJ3wqeXZQxWaC/JBRGfRA1TWDM6H+MYbGGpwHwynWSg7KTyW+qsqEeQ3QEDIZupspvbiBkc4MGUC2h5Dfauk07xIUhbJHGB+Q29S7KuYvKc3Oi5YKOh22p7TPIlEi3H39HzBBDii2Z6SIryKLLqHgz39zs1S/S8DCggCJ/brcmZriBB+xTtzZZkQrAoyDuOuJTfmWLd7JhV0/ydcivD4CtoYLykOo3WSlAViM+JV0Eb2AX9LxgdjCc3sJh8xSiep5Gt68eB9CfDQcBhpsRtH1EVCwh2DX1A4gsUoOCsOOGtDGJP0xVQLkoosm96tlhX/waRGGt1c36hXETf2P9feazJykwPWL7vg59LR6ZeV6aI9GvyiKh7cGBFnfsX1ER8mV2TR+HFbmedxFQqWm+vAViB5Zq0SM0R+x3wyJxQoTNwuTEdPvHv82onCH1EvbNjldgEYnUmdEGk5kOfm6Ixp4xV7kK5q1nwJtTS40yIpQniI1Vqx4/0HVjgVwPnPAf6WmLkXGajMB4v5IDE7KqKFVMEQuHnEwg5nkivAaJoIDVxvDjIO25Sa3tLHICk2+IACber6OnUb+PmIzSoSZ4ay21/z+o8cz0TSb5ilLmC+CdvZ/U8MfMmJLuG+9pQfKFQw6hxIq9KntKiz/1H8h/QGrUXFxEl7bYtOCVRF5rsHjjP5BwTqMtV8koEB6YhqdxN/M0SK+KE0S2S6A8nX64A64eR4r0FBRC1XTYPYdMcQSS7MizH8BWGjhUtPot43Ivcllv8sFakGwG9yF8B0bt04AzYK+iNkLlbaFlLUXylRFjHp/TvEeR6BW8ONDoOmdrBNnJ/Su2dPBZfTSaZe1nYpHb/802VvRUtODeWjn79L0VRyYQ7zOkKKXXwu+x+xzbXzDTeTW0A4zupTcuxbuNOs4aYvt94I/btR32KaaaQ/VrfvrxpgvcKsJMxE9Nuz/IXSGgO/Pp8gsKNacvrQlwZx5a61i/bYk43McUxqY1ozRWZsKiwaEwg/6f+CohkhaUflk/L1rU2TDyeZv7KYiypLLBHt0N4sLQYJKzdUSPQG5aJX9OrbRNbVcV2qGP+pU/ysfhpoPFYlR5RRGge8sr37WYpflDUFF4+44+s6JA16UItUsUJUMnwhjYLMZtfsQQWiYGevVLaMcXRtBLLuUuUq/H81KxwFw7WHfQgBXBo1xCkQAd4fgrRuxQYfq3BKBnrHLei5iUyQ5FglZ9J34Wf3yaQbVr0oYSK7tAW+zvXUEyoEYCa/KrKkGMMrlLJJc/ZTePaIB0/pCR3g3fujlbep3JE0dy1GbZV3YXNtO4/6mKVqW+n4XehpoNP0cS9k43SGnj9cHKOFDhg/FAirsREnSGd8dZaERCnrJn0b9/ViwUYD9Yb761NZrEEWvsxcgOE1Q9gKtQK6WRX/76PDP2GUcTN89avidl+NhLUTQUdQ8Owd2cdyUTtmHrevvlfNxjI+s49y2c6HgqCZ8cvN0n2ZlM01DeSDkp3h1hrFWqsF8BRw8KedsoSYUVvr/WxF8Lq1uN9mu0OR2nvMdAhcv4v7fmpuZyZGHJWe7tdkNPXsr/2dUEeFxIqAevzDt0bZKqo9q8nXiJvsKhdROmcKVupAkkt1/K36m3QJuxkA6sGot9Wn/m45e1CAAIU8SxG7AHAX1gEo1R6/1o4Wp7BhM5HBBo0By6WY3bsmU8jw534JmWgpwDI/3qgmREvSi8lH+sPERlSLGotM1oAh4mLs/5rbKx+vorOkyGr6ec4vX30GP8o8x/1k1V1hJekoiGujx3BbfpUddXA7uQGIpprJKU5v368VQXcWE4cR8995gyFJgTCSKfT0XeKyBnyLgYtNS9ukbOsXUMK9/qRD34TGLc/viFhtIPXSCsR7tdwdXcmQHa9LyTDN9hxMzeyXx6o+nqSB19eFlUF/Uz1v03K2xe60sUHMxQfZUYqeCAmeTNWOfwmHGKN2rajbwpdFuyje3ZWf0UG2XdWX2Lzt3FrJPiMvX7K/tVrQKaYp1l7/SLo1R/wjBEWe4c0ugNZqxwBtB11DXDGz6XwZJXixrxE27KHTavdMjC0UbXsszx4Z2iI/x6Qoz91pfGNxkRaD89aw+hn9PBvlC7556z6s4SiJLJ2jrSgJU3A1w9bAHFnZ0gNQh8h59VaLgtmexAx811IRqEP+PGZpURt2d3mx8dLlKC2qXlfRdKzgLQs6dwbr1cFHLKaN6zElCmadXa17c47ty145moaWCxJNt0ccDZ9ms4BTbDmXYFONAU0pBFkPtb/bZEaDqDxrxhswmylcWnWGDCT8BaiIrCaMs76scCNnsGmCRa2lGcJ+p5yTBFxrz+Fer44zKsQEJD+P+BQ3mVMtXtq7Z+UO0fMS4iSTLCho3CdWBYyu0cMuKk0HmhSe8R61FMIlb5wWj0dx/InetiS+7wDN8n26NCQgnP8Kz5bgPhuUtpxpFfuuLX8CLP3bmvF43SnjQss+rW/RpT9oG2boC07cPmT3WHLMEcrA2xWPqT5b+IAoUGxygI/GDiPBitF+VTyvek+gg7lIBfmGdp1+I4VlJEHqdivPvShdITbAta0JpCTVW7TDE/5FS4qmZgzYxVVtUNwFf3ksYirEry0U99P800uJCTzN+/B1+mYJHZ2BNwKsBMPBCoONEayX3sr7JmooWsRvMk+qq+Z+smo9KjVBwbWfm5lvL+jUnC/gEv7zchDMs1QMTHY0m99gijq4gDFfGEEaH4/kiX1RqXp/9Tvr9/CE6oGmf2KXkBH056E83CvZjxdqT+OQDd2xtfiFnC0M9QMElXA41nYU6PRrTg76HsDXPiZUYeZXpfz7RyFwJpZCKzLU33ulCmK0LcPkveAP5+MCKVfuiw/IeinOtKgMM2tna8QOEr0Yt2iHInSJUUvYtZvwZSdaJowBMWd4DbryxsbE02iZncB3K8fQgTK99b0LKXLB2jDbustYOfhejkb2oNbPjongGTKdjRj1jS1B8KZA0nWe/WqN/+qKVUgSvQXfn6/rtYRz1wiuX5lGsfGfwqKCaHhaXVsDERNvzys0J6gimPTmJO+fIXXGXXFgpp7hCC7kZby9q+KvMrIE5tUFK+5dkxTNXKW6V+GR2EfLROgs6JudXz3Qq+2144Mz6u9u+oF08vdcjBV0t0uOybl1HApv5RUDR081kjvJ9N6qfjoVNkVOVB38j/Dp8nPEvRow4//sKNNXwjvl38qzmaojU3vp7rED4iA6gF/Dk0nzO5JzJVOgcTD6mSqlWh7yBTdnk/kXMondNdBOedF1+Bso7MmCA3T9ngBJDgXQaHWlZDSOR7hBrp4/vA1zOjtYWz6EYc5xEX7RRke52UcSyWUQT7y26cDsoh/bih32Xq+PHkxHiU2tIxpt2jGVns6VF3iGtJ8igVZt36xpzHBavrRLtsAFaBprDHrqBVf+RaDRKupdrlUj8uOm1CigJf7cRLzpd4/pk//6P+UvForfwOgN1K0yEsPo03lOQ7tf7SezS7gHELXH7/qpeTnS3Vxs9IYP0vX6REtB54sF41OjKdtAGcYchXYE56ewamstjMmO4VEf2li8lkzUSJf4YTRMXoe0I5NznhdsIhjI6lMlwhzn8mp89vlPNOToFm7C0BZkRfl2PUmjle4V7NrvwsH6SrnqhGL/HFxEHH13FCxcgYqxCmw1XiJb3JI2QK8v2+dnwhvFCcsmQO7GPIC7ec1x+l7IRPfkOY5i4Ii57bCWn+zKHDsuqDCEIqkKg4p24iH/CADCxetTDzowXU752eWHNvtXilWMMwB/R/dl2X3fkKoyDVn1b0im5qJk4TnHE/+Lx+XQrEeEBMsPfSVf1LGdO5D+DhL6yG2Voyo3S769oyKrZkTUPjoT1+C73KUJuLrY0eJkUpYeYgcXWDvPC6RM/mmIv4pjNL8scHG1+85lLu+2c6mlauUqWHqP1n7AD2JuFKtABhO5vhLv64Asy8nzwoACbz2qA2aP1PaUauLhqE8/0iGlAAm7qACZPC2m5eOzHW/tQFGnfwc3n3OOKt/YkQtdq3LKwWCWIUheU/1w7tMkEOGPoqwVCOwBHsbKpvBIIdyUyVDgFfvIPoJbpigDmy6Yz6TGx000GDB00LIv3TeR8xBFYwBxMes3V3YfdzGDfIeBNcOPqefesUXtUbiOxgXs879IGTRmfQDP8ZtTgcdK4faZePrx5MtUWcgGJLzp65e7M+S93A8eYX5BP30oEVj73ahB1o2dvVFq6I1BSvuPTeZGjduZXztTT4/rETvmwzmB7zArU8sIx9ynoYP0FttgoxXjNDTtdzmcEQ4lKOJgHXz+iyNVXTysIDDBjqf//tYy8WlTIczWkXOj3GARosvt2Zu++TvFKCXQtDdmrhYNOigELVo+9BXvmThe1VCK4WaPajH5eDOLMQjXnSmW/SWrHwrdJlHJTMHnOuDTQ3XBqdF75FgHD/spTdam+yNfGlituoZPP9duMHnFBiSljFNVnPcg9u9n3QgImAuCecKyVN5t8rv+gRx3XPV5dt9eALqK9VaLw7f0KshjLkBvahuc50gdE9jYAxDslEYUnQwG4i7wMVUyAUmTvws0KjIAQJEb32tXNBCK/50qSZEpI0rohuzh0hzYHNfK/mM7OZAesjW097Pz6SlRanPnkXn64DRb4LfGcyjWtRnvb/RN02lAXzavvVIUsrzM/kMUrIdGerGqGULdx3zkFjZSKaowZGj9kJBv6bxgEiBcTcrLpBFnABHg7ft16JysJwTxuk5Vg99Ub06GNUAuOszK5MRpWQ+aONoGtnJeEAC/7SnecKi0AIt6XeyV1vnwY2V2vctQ3Ze+sY7RKDy9DJ8TkD8KlSLVGy4qSUIHBss+J9p8OR0+yO1bMuBQxI9gH1/pqn6qvE/SeYVbxvbC8xBQ0arZWMu4Mkxe0Tdfkk25I5ic29NHx0unPaA1+Ey2+VUd2Qz0UAHNFIxSfFcTbsqmvyeAQofxoOg/Dxtu1eRqnoohCLEoxHCyw4WcCnmGgYiifxOyDBgZt2ahKfACTyg2+J6tv4PbcIRhDeUsd9cMwVrOW9FmGcur2I7DCmlhpAJA+MY1U9MyUa4JOIyIH+Dg0yB0ZDeDms5TcHiuubhyjNu116AckWfS8in9UQjhw7+dc1gaUjfiU/8eVF/VxfG2OIoYtcaX16lELDqyTpDPqk/iMyXjLc5XkArxttr3rpBl+wbesqrYp351CkTpl3zr9H2OfjM+MqSRtKRRyb0rL9y6APWGxNYVtd/7Car8gocLsOsKyD4gnH4Msc4KKlaMW8Bgs3502r3YbfQMiS1jynygQA89gpIGrLnRVU+1FoAaeVi5znA1foIdHowqz1JwiKDZ62mscVZd266iikbo7ZupuqSZ70NdEz69k/CRbrPZK0XmhuHP0UDKiEs/Hksek4D5gRc7SEnZRl3UTsQ/4qkw1JX324uo4WDRxn6C9U9080Fsbp3W3fO8Mya1rUMmlxBPLYRq71kESGPrFCjy/oe+OvzgEJx4xyu2HizOYMMDQUpTmSNjbR9EWgqQViWmHL8X3OIORvibBHXWPLrQRa+1JmmxZf3oDaj1nEVF3C0c++39UhxgSkaD3Q/tFzG/zCji2XA7kRk40lqUpdptKJ4oAFlkO+/b8IpahFccoA3vRxdY8ZvSTy+unQytSFdiSDQ0d5UoS0UUxAwIfaN844X1LJiLhIgKGn+54BU1nFS/XHUeVd6InG1jP2896q3Ym7UK7T9FcUIqS0/oEv/CZaEyBPM9vvnntsubhC9qNenV/aHppmIR4G3/iz/uqvLS12Qlt1+f7aKu/SFOR/f7e1Hz52kFDA435XNSZoYVvLMlOow9JDa+IPKwaSym4d7kLVxyqui+pRagZGy93cSlpEk9TQlW3J8agENASW3BPe6bGdjp2Z/1lx87FceAuGwBaPj6hioOUpoW2dQyLJBMbpVwVW6jD8syYaL7nheEp2tS0MuXdWvwCj11tM+dDsFQoaF/6RrCFIObzcxQsiOgNns/X3lNxhXso9Xl5ck65SbvpqwbdkhStNMHvCbri+9vS/A77lOa3qeHdk+YelnelpoByToLj61PWk7WfyaGrVINNC6noCIFY+m+3KCDSVktRHvXBzl22qDyhJ0gTFwfz2OKuxN2o++c2aozsQqsTokJue3ODR5AalYGW1Sxf553bNN8lo0QS+B3JP16D+lVzLSEB2i79JZqzCdotiDVEEDs+DfseQ0cUjvNQ32wm9JeqPLOl+SO9edXIePs+C7pccGbFV7nnnfIg29uD5e/AG5Or0CgMDczaeWpVxTUPi/FhROR2sMiYaebgSTauW+QASpFMueKycNnVBc9MeVTXSaW+7oTISE7/OAUX/veDumcVFaStOYi5ZHiiuRU4n8q/FvMXjfn4EWjtqDKKOqKN30gQJuF6H/Jzye3UKiWMGLkkXFX7pMpYcrEqD/S81Kx4WrXiSQud/e3bEVdh7qOuG4iXSV9Q9oEva/dJHqmFspbN8i9Mp1lzx1+W5J//Wcm7f9eZZVZbxR8/kJV/lSaFZHBouxJ4QEtb5pIor7jde6CgvYxcOiLT4YcPKxZm43eNAx2GFh5lEuIdoN7efDJhBmWDnwtGct+JdceH+5Jk4YUOnhAGchPNtwl+i2gaCx7Osqq0m7O9BzC/lblhXkn9ICjEixpzpGSNHkaNQAyKaLc8sBOepcUk+7U4m/0JGEMGijwDeYWI+EKOHR3fN2Du7O9g31LSS0rmw9Ji+3RKbH8bv4sVXqw0rJJEkEErwsQ4YU4uyZIBRNTiRR+ZRiRAxZO5/pJ9yj7o4/I2oVMezvdA9EpDTK6EG+ks8ED267XXh8dEJZd2nkBjKEqbrmhae2VvDDppdNRWAK0UkAwLJX/1FYy0fOAclGbeukXC0Lu4jN19Fg5a0jXbQdzzaS7VzO6izj+IWylcJ2FUVOBwlWQDHHfTwRPLmRXxFIw72INGTBWbgWWSdYYqi35ywUKoyPVl7ijvyBGQaVaA0OwPmh3BM8j2hmUPKDYYi/ga3vCfQPmm09vNZMLcDo2qt876GmuOXg3cgay9jt+hdVtegy0VTWFgXIz4MTevyraA8PnVxczMVyictov28ZMl8d6N08Kxecr7OaST+UQk1dAZI92/o2kD0d1143bHizLT3Mo7hv2CYm7vZgLkPXOrEQOJt1gg/3gnvzr2oszm64B3mHEWlZnRh3OzPPj9r4CdeVJLYHhR7O/9oqDh6zbs7dO6aHPERJBAxu58x9tvttEJpj5Sm8QXK7wei+rlvRGpaOtymddHzSG+RbSXBNEK05aEFj7EDf+CegWBT4S5b/M+4vjXn+VemwsoKwZY0sRKGCAss7zSA/S0acMBscJAa1UuLKbu8NlokG2jBWf5J5/tOFupkP67LfCjJa6ZTydac9kkNmLUFgqV7wnIgM26ts7YB24fxBuNKfpeCGY+EVVoy8EuCHlhYUTLa/yNABMJeRXGM22ekEvRL9aRgstfdklwdZw7U14EFkZZNF4Igd+f4j6BBzeNX9dAbFpoglEhukUVPpH7zKQ3ZHCh7DDXhsBhlMQZoYvul7HTSfqqqqvcobRhBC4/kPClhCQljyf1D6Wqwy6sIJwkALdfeRhraVYd/9qLOv3MjZGIwKFzzHHUgPgQ4iqUbmKDnix3Bk5OrO6IBGfd4YJ3E+KTMv0rlkVd9Z0N0Fv0evba0cTxkcLLGdHwRc5Ynb6EH8cudU+e6kXtduz9aiuqjytAkOTkz8FRS52pMoMwCPOAh9sYpJVIoz8NGmMw/dEFjXf1xTh4omefu/EJGw9sjM6TyXknn3YjYTCGCAvlTTktVCXqgnhUfKbJqTKBKP1LasgGStyR1R2HDz1b2TfgV+Xt2th2z7wx63yiKsKUKnMJXGDaQOtduerQxJ1tMqsoPGLptAh5ScaECEhNWAroftwQHL0Siq8beySIuBJN6/pW9JmAway1bKC/qP4pXhMgrPxViHzdgcL9WiAF6aXOL3MmDE/0JhYiCA64ha3mrvvzsSJO5r4jWrQnowDRJ9dGrcIvJ2wdSwkIXvHvygT4LK4q/HbBYCGMJmbqY0Jo/BVPTlcfJpjkBoe8EITorLTMR1wp2UqYww6sAQy2iB8anwf6k2611OYY/uPH8uKvdfSVLFS7PbJwNDnkzYac59og4LmOanhrS0kyktKHeGJWwktIrSu3Hay6+F2CsIz02jlUeQT6eYJJorIDE8hl+jaZCzBgIv/XuyCdsqa5VHdhsb4sJ/Fw39t4WQF88XmQT0OSEF3Ia7HOUTV5Wjk80MS0UdxAEzXA464+2ezxra0J/uW/S5jMOFnaWh0iJBHbUDVQa8dO4tp9vqkmYOi6uIEy0uqBTd5kZSH2YE0aUz5uBmiUuq1dNK4JVMwRNoUVMGwf0V7r2OCmdN60Rh1ogdk+UwA9wvLZ2ZSahJO6d6IhqgPo1xE38vbPbCTJmMInzmzdmcT81PE6BsAs3Y3RaCZITUxlx01dSmT7eFTuwa+QKP8XI7jfawF8rcOzEPbJrnp16aYRu9QD688P/z6eJsf+3+2Ats2Uc3Ag8TQ90eIM8KzSqYuct7QDbxQp+AAr0rEmcmySpoDcPa6vRIT0Fr43+yG/7a8SKHGFwvJKL1KMUYJuJW1n3O9DbInnhSAEkhrN6KFuwD6e2xRQatok56KlQXH9FPW0YysLXNin0xC96mq4CT2UiH7MosClBUiIzankbr3cPw4mW3yfS7kGEAPKgDLCWS5crmiV4I36sobz/Q5zLfVwmmyi/FRD8J1APiKRU4eXSo/6saWBMDp5VyyDscFwGuZ8ZgzLAUJslw0Xt+7reBTAZlDFCixyiLqVTDjD7fjoFM0eacSZ/uch3xlfk3MlT6Rov8HSodtG07gFyaR0hCJ6YZ7216iW7ljYP+5Mdu08dGTQxABDv3AILtmTceQyfWXoogTh9wdxUYg1f7OwtTs8KwGN40TrXobVbC4xMZYhz46BM9ZgYxyOF0ePM2tVCl2QqZ3Oc6rtxfa7gJaPd2U/tba+EBbmTKjYir829g0Wt5ZIJAN4Gq03YeFAskaC8ioSbo2RBx9M/mXll1TxejJhk7FNfWEVhlodVUkFO4vhUB34vb94zx2TeGZQUi861lErneJ+TT4SHZat1BUTBhGNGDsNo7S7lwIbLI4KoF+OZxemzqZ/tZW/HTg5s6DQLN9yCMCVsNhURImA6DILsMRod1m69apGHueSACdsBGFiEqYyfO8bXMYblSvvzmgBRoMgU53oHDv727dNtVLzK5/3SxZBYZVKF1lzDedO2ivxEhqoOMNzXbn5IdkLLSxHR3u8xbh7OmGfYZeT7wMuXdqijD6QjpH8qweqxE7fmR9qGftybNRZ/54CZmwsx6GJJsSu+y/7/Qu8cL8aaFfG1A5RzzkerD2RtDium05HNB4rbjKKRJjyPqrITRz0tVMWYj0I682xiUof35DxM8ppdp2HvHUE+tsSUTmMAnAHBiHRYNnM4iQm3hrEOWWfiTrQPVan6Fyf4t7pjpjoO6zLKnmxqWVKDaP7n1LAcBrAIVzdQp7nGSkDYMde1FASwXqxnfnVdJXs33vdBhEOz3412Rvp+rb9+O8IvQ2xzTiLV9KTNT+SICxF4BCdI7YJ4eZd2rvH2c/a9JWXXcJT/XG57sPB1jprUhedHX08rCWtqMNhv2pFNvxXmLYAXAa5VACNvj2AaAlmMiBrm3nsPO3bDutBzRmt5S6L4mgFtBXQMkgzC8Yem/SszcZMrh7l+muIenuV/o5IYkSJwG26qfVvc7TVvRN17dJnb8ePfb9Yan0tANPWWxvf+d30oTrAoqLbyte2qlbWsH0y6s076AnKfeQ5rNc2x7ZBQ5ysFojsPHPM21aZ4xAEgXTni9Hcs3DS18idl71m5LnDn6t6iKk919N+bmhTFYTBiUEn4lqS/Z67G97mZxYBlbopbTbhgdGzTLi0zKz0qrJUoI/GCWG93Wv3UTxpcrVKnk+bjoxECxwGlMS+Gh3wW/hqLY6kiZbi16z2xkCBibhfpzmYRmyDSgNWy8SYesgMgvhRnMhz0iC0txL+cWkCrDuzzFXTzwV0X00uTHrOuZShTp+WpD6A42rmE6XClpvLtkiWo+NpmOuoGvnHvzVj4A3VhjwKfQImHjLgvBM6LbZuYKBh/0gtmJPUuap83yvMnozz6R5NeGqf7t1hnYcCsIS2HR2kNUKMAgfmEj1XoJeGMiI3aUXGX78tsPwYohwIk9KFrsfHKOaF7p6bUJzKQZqrAkBrd0t/AnKhqt6vwU0kGgfSD7Tkz0v1isowxmNsJBVg5Qc6KFaXBFDcW2bHyMYtpcGAzgwRfESOvIE+t8IRmUzrpp4xoFm4r/ibU5NzLi7AmHHTKncFxUm3Y5IYjo7Yo6/bnryP3hoM8iWTk+YKKEkISUv/dL+EOaLJ/5qLqjrD2/z7lF45B917IARa2icBL7+srC5MwmisysdLri1XPna7abXKBDI/ug/h8OHF/7SRDYlQTDCn9KF2oX+gKRKMO/D1uaNzto1tslwRZoi9BK1XegXvVwALo4gLD5IibxWPTA4HL3quRtH7DbQv55Ma5yV+XaniVF/iAGt/gQQPBdLatzI8OT2KIpYCm4cudrWgBsWyo9kxeLWX1S3wF/u6Amq4AfKH5cEbFg9vOECUm/50XjgrO3VkxFIR04r/yos+WA6NVkTCRphMfSuTOQ+TdeM4sG/eGwpI2gLMPQtVWzfrYJPM3KDOll13wsK5MHQyOhTiPGuyokjAC+Er2IOxs77BBEQL4eIB/SKzEdwQrzS3GLTwUDFVsWli39liGWcicCfLnN4uhYoUGn80iHsLluLPotEiP2Rx8s4tQRtbTnX9gk5dSMG9SN8fsFyb2W3YFtaTooS1ebjXfVSlL9dfmTqYzt9um2R6g0PKTVQKChljOeFakHjc305OG1+hKRa4WWUfPFSNnT51p8LdwW/fV1V/nCDxGFODthSw63Ja+7TvXjT2ns/tGJ6oO3cffaEYwoROjXi0W21Jp/3CkBNXDsXWQAhUTouOwSUg8WrS5gqbXIk4vhNQFsapzBY+anLR4DRGB5cCVlfLwjusFYZxQXOr6cdcIOQnh06fJGY9Hxa5+/FRdYBCqqhoeZCy+jTTCSBm83DVrk3lfkRXzrNshHiy8mCW/gtopYqna2sYuXpZqRDP5JHY056Cy9lQB+vTTpPb/PPmc55eFJ4UkZ/VX55ul+VauaEwcBukbmsg5QH4A2ec3cpqA/ZRfkHcHCDL6c2LHMR8EwJ57D9/2G3zYerjKXSDsmMle3drmCRAvUKaqLdGriQ2e2Wf1cO7DC+GNSyiG9V6PJYzjNTMWlL5+8EIaKgQ2/GQf4dud8AV8sctSV6bWPy6/0Wy5gK/yxFF6LQDf3qOXmgnkrjvDepy1BRHJpAgWTcpKAYLhvLtEFiNmIgPmjrk5b1CjtzIFeBLXKsNJKgepviP29ySHIMC4cLJlJ7MwcHI+Hnv4dxbJr2pN+7/jzBnoQ9zsz7gtaLFTBQPPfDiIlVBGmOUP0UKtkt27rmyXVS0Rx8bQ42gpOjWpGgaAWhc34deSWVMD6GZnVMgCuel+AGL5o0TgXGTt3/H6f/6LDr8C2tCrPPkC2wGM379yU7qMnvNQy3W5OIEws4B980HDlzK5lKXhlybHt0n7dsVCsXIZcWLWRLu08bvKNZjX+pppZd8nvapnZ1zpBb/ATLenGPqEXnK+F65KdGW94rSrgE/Ib9k1Xsj7B/MSGW1ecISeXldfpFpM2RelqLtHZBm2rWBKlxmmG3iG2pzdgsAhAfppVkp4ykaUJK1vAAaskTJw232Aoc7T2uRVQVKIyJbj98BQvII+b8LxXrGoElyCjua2GoR3wIn3ZmK7U5HXtle2t0WOXaHQlU2t7sp/ZTCtZCzhA6EQ9MW+EpsiFFqoK9Ny5X9XtJGC6BfBa7Qxqe3dgq15fF3K/ivqBj8BiI8RyLTp1Ly5NDhYgx3zEKlWO+OAchN317qnfDKgEI3n8m6sjZQ560lGQszKKkUhe6upTt1k24g0UF92Upmd4FgJ8Qs/HyY5vG26y/Q07XdywR2JH7eOFafSILZ45jdfGh4iN9eopxQrogXErAEsy7rc8/0q0L/PZAsZ9wjd2/Mwb/3BZYRpdJCZTVQCVsiRXoU+fQJkpGW/M14pbWOCYfOC55zOMulLJTg0BZqIrk+8EPswYqVQUjKNAmefxKXEU5RbF+Dp0bS/Ro2hV0vfLCj9d8PsONx5OF3/Mggqi3BVbByyvzbsOgjM8aYMOW3y7/FyGyXV4aR+mPO6ylOLFSElRpLv+jHrrYUR5PnastjAkOPTBo1cQusj3YPZTqoHyLeokwq0MmRCOE2xmv18g8uflAe+xZHvnVZhRvHoaz3cbvwztt6kp77q1win3Sew6nPdOWos7hd4paa4iQB2wIDDgUjR8Z2B8Zg37HzO+bAnNokcX4LXR+6swiGn+gjaQSWQ+V9RIiBdmGzyw8sFXyTQO79W/EfeJf7IUr2t1LmVCJUNbSRpB0NCoMuZdaC1aJp/iiaGGZ7TQsvR2Yu7UqPmzZ6O/P1olHMaKEb7v5O9r24nhDgvgeWWcnk4VYabzGIq+khWH9GrFPvXLvxbtvw8agLsEf0Yrm6qC1EY87EAILGNYcr1GGD+Am0viZr5CdZ/3ULq9/EQiLqtjxR2L0fTaoJPMksyK3a1jdd98RLY/U1BevndH3HH6fpBRxuR/3zmC5RurMbgmNxjP1HEVaTXnX47D9tWoqFPx4TCvvy0mTDN5fqJqPEcTwVBnA57tfzXYvM5X+Kd4BnI1otwd6Bj85g63Fu2feBpiVsafk0mUYdU3Nosjjb7UIaSzUc3auJ78EncehWbsT08Ff1XBnBHMxW1uCHRTDw5/kgEjEQNOTn0vPlwr/X5dzISKrDfya1+xCRce6xiK3jkqiVreyX2VMVL0lfl3dVwse09v7a1LHzQZGjH/LRsY3qDmTrx61oMq6wfvp9GbRkxKRsaqUMAvhWlV6F2dMAc4vYPCV+4U0EQzugoaK7taQHouYWQsbmCy+aaa7Bq1/P6Np6unQMzRpUdjI1JTxJijQeWXd6IKFvgHpxkfMFBlU0HyaDAUBZCeuUITW4bbZVj61Oh3GW2y+BBE0quvssjB+XyeadefinrA7ouKPVArSd479DGboa/R6SKly4EeZJ4wWfDn4ROFlvxbbXD+k+6N24Nqcc2ndzSupXGcmPP5sxRulFtvHFzKDftrLCA8tbAPYP82h/4uFh4DxrSlvzTrCeCh3y4gCTbdGmAi4sHZoWu+FuaA3aZChXCTtbggqilHl2hfK9Go92U9GRT6fH4trL0T2CPTJIlbuasxJLhk3YIDlht2VlYQuBsy84C+LGb8ks/iGzH3FlQ8bG7K8kN96DN30409LILvCjGhVthZ++85NkG3duJOApVHAw+pOeKs7sjNkGXaZDWYymjKWWW0seu3DJUitVL+c7DeEmbtjdsEf9bmUtlO6aj3ijNzMhFfy2o6ciBSOQIM1zEZ0JwTIciG6E/gJg0vMwj3KX1q7iTfWyvGW9Nt9hkeQJ0e/cB3vVszgYJL78oHhXqmehOZSQSwV9eBor1XozSDAQdL2m/wzVkZRzPrWhxNFCrBuTneeIZJneWQ+YQ3yDZkKTkm35LkPbsLeYhoauSqatgvm/Yo0D4aLT9GSuI/tOp7MVZW13Hwv8zVJglBZaO/FZocPlsWU8ox8T9srOYMqCMbF084pP9dYF0l3ju9bB3OVqW3cnHjwku0jmQ7rJTZ4S2KY9SddmZ5Yv/3t84RoSEbBKVDOZXYORK2TRba+bTYxhjr6JUZreN3yKm5k4lOdPYQmNrVZi+UXBHo4OLp1Uc+o1/hXbASaQGa8vo4P8RGLc6sVj1EWB31Ny3IPulIGd3E5lZjAn2ExYfRus7V/OK13JBGhMMifx+5aBhhfYSX1uLngEaNDJvTmso3w7HCV2zhxk6rZTDtouypb0TSyOnlmwHtBTpF0p3lz2Ny5tzd9lgNszdpWKSsKrObnOpQrQkdxoO1B9bwP34C8uIviYxJ/4uclIxm8IVkqs0yRkXAtxjpDu2psIBTDcXhl1xTz5VQvHifsDxiKqbgwShoTNNpNjx72GJR9HDGtprJY7ze9K8YrBRSM16AIFSKDtj1zrmUEV8nzoEVXxmU/ekqXXJTzk6MZr2h0BuaG+HruxoaI6KijuMBfRX8p9l2MJNu9UK7tELnWy6b1IgY/IDPWaRRODpTJMbhRI41r7vCHxYOy1vEva2SegfYjZNkNIlIndx1o6OknPKJL1vV+EwILZBzBRXD2L2xo+OBpJkZlYUC6K9S0F1a9iwKBw78Rd6x8wyB4tzMZ6+UHXcXDU6PDavGpQqZV82zbY9AfssLKJvk09MDZW0FuDFResPD7cQLQO8dkK69Gf025XxLjaUSxIYHfZVl9ZojXorcq8mhf+XrT/6weDTTrRH/x+YCh9p/vboKigJ5Ae8RnIjHsY2PtKyaa7srBv/8h6fcbM1aYS2+/kcjOb4mTjigrwYMmwnHeYrdP5O4r66Mmns5lLtdLh0EwnL2nGpcBeg4Ec9Thj65vbdki82XprJns5q0yodpzp5ThM0Rx0jTBewXqX1KoFMJIC0iC9ejLvRHawt6+jhKBw4mQPUBtPh2sU2cT1O2OQbiHj0UMJez3EAF+QYLeZh6PsgNEFkeyltWu+rug/KtsScUeMsPngkQJc5XNDesGiE9wsdmP7GMuhyU/hXbQLHOT9m0EZd9H3HB6n0K0wOsS+v1t6CGHyjt7QwMaA0KI0gqsV3cRyNBGARE3P+WQLEMPoe5FCx2RrAE47JCD1YTPUd7moa1vVvaZrpsXJhvCDo9K0soljb5kjX04IrthHSkQizXkrJCze6PkLOPcS6Hv7yJ8RM7FyT6u5UO5A0TvBXJGIAD3Lskg3pH5aGS46LnPjDB/KjLNcTUkzMrERJVebS8q1FwOBO73IbviEfN6QcgYifNCPbtAJ7G43U5RiJLDKBl4MYeCx2rD2j7bQD+/tIUAnvag7Yyz4u2O4wSGzrztugcriHFqD7SFxc37mbfUEkPxN3fMjGgmoD42xWNpJfQgUoZE0gt3hSGC5RJQfyJvhsCZD82YyEYLJAb4i+43/8XcowW3Hnm9xjAnMPMNoUvpf5FSWi4DRZGdjT89mcJgdiIQSsWfplnlnY7HPAJm+7CNWRPGNsO4XtiWCnLKztW9ZyDGmZza7Rdb1L9xfgTJTRRHJpu/el8NYuxM41rHEWB/4IWGQewWTqHL7cjIzzCBZGumsNV6tGzEMvin23AScu/wq4AZAgFvx9Rcp1Ah2/VelZqjeennzVkyqtZnE3EhnowxWD8ludttaSPiZjhFf09UYXuDjjI4gycBI5Gz9wzsfXjMWwanQ5Fh4CbC2csuNaodSbbjhWvkY8PqFpx1X/l3OP5oIPPH8m9nlkoSP/e48ILkXUraZryfsRYxfywvdouILlR4841dEs0wRMwNEYhxPswPD8Uar6gcgCVTzjsvYDzzAXuFnhm9lmw83K6M3lbInoGmJnPfORrMbZ1na1wP5WVye0sJvtKdKABsRtZj18rSCzjVDbdcytkosFG7/UlwfXUtsGvaMm8JOQef1AqR5VwkzbTtE07v3KPbAQ6JQ8fcQn7pEJ9lhP0WSALRQ2xMLBKcZxoAwh3wZcKz9DABBASzJ/fxnoOlNRwUgRTdIuhsOiw1qntCQytHqpnbgRBc+/Yq+hDuuNB8namWCt80eN0rDxHHEJX2M6U0KO9DeP9Y0BxDG6axgSNcP5g+KhzK1dqE7JnaGQtZQxfD0kMzO/hZcAcQM/RvoDv91Rnb0ryp7m5ErSJq6Kpiaqk24EqziB8Ps5ZnTMLtACFqv2mefeb7eh/6wrSkxsWZNXUoa1UOYzgmLCULsNdENBJNiYZ1Y3Rc1GeIITXgHXqGMNQl3ZeX0vneQctJoxj8BWEOBemU4+nThvJmQID/lT4kIec8brzk499GW7RYDHX258gUHi2uHPeS8C2ZikhDlx1gKe4h5m1ilQJgH2pJtdxuPo2C1joPzR4BGOfXdGTBH/pyF0Ue2sDC6889KNWYFztFoyJ4KuekgEv63nngr56n2ELYKYPFqCG+Hlbfof1MJhsrji6u0hClvvT4gJ3djhsuvWdJwTSbhqNTXPDuz63QJSCWNJcgRcgSddxHmbWtuPn1mUMlINpZv/+0IozHZ1LEC8QhJSFDQAxghkoFOqWIaMYxUgoCcmrX5B8AlBPseTy+JGi3jc4Stf44lWcnd/g9+9CRN4a5NWMZ9rQIevCAH1gzcDH/bMpcHnfGvdLSaJ6ONZr2fFIjItfKlXqNY5/npysuqng8F5hI4Gq60x+O2LEqa3ZcWRb3H1uj4badLG9YB8P6Wo/Zo7RIyCA+ODbR9QwJdiDf6g7Y4iPto6wgjbi1Y5U2Oh2WfJl7/IiM7+dLWIq98VOJ8Ax+M8RoRGcDJF/W2pGDugu1Jhq2HxX5XWy18mxC01gyJZdC4lQlhvZatGCLcNiTd5ptPnCMzGLH0Aax51wHGeTy7Izzd765hXWH/Sn4L/ZYlX4b24dubwvjwLPWCJSzze8R11gB2O5PUgVO75JlTxCb/VQynPzMyluLzP2CdLyxRNPlphFBsk43S5wbv/lJZNEPxyfdRTK47W0eazPmisng9nNA/IrhXGztKh+4O9LuaB+spTHyKQJSQzcTiOmOg+LleXvPvtYPHMSw6nZZl6PkgA+l9E/PBT5vsoEMxkiSR098AMw6iMBGBZiQhbCaRtkrJlXX8fAixIuYzC8VUytLWFFRoWAzYuRlcXYx3siuHSl8MAdC/AkugIRUQzsbJKCDRnqT9KCL06/tIWqfO0HqwUydCSQdIQRsqHcN6fgixPq8i2lOPMQ2NxOytaAw/SHr6y6huf5Ts098rGpU5lRSlzorXhwXeVXtL8YYtu+FGrHPjh/py0I/WRGJpUf1Z+oYrJy8hC/J4/EegcbxFx5akoqjZpDd2WYMrPRdq0drIibKpJcCnOYz/rs96NZmFmPwdu4mwSVmMDkYgG0FC3xb/Swb/9/NDvKpqciJJSekNRIMqcQx2WIsuVCG28Jn05tDlwdgbQeQA7LGRd9ScWM6oHiSV7XJxEB5uHzrjpY2JdD4EIXEPqDFA9ngkQGMxsegG2RmVbFpdSl3tTLkpOMshkeWVOZSHRYmnXvgF8XDybVk96lzLfYEcwuYe+3Xd3w0OmVbuSICIsBU6aIOv7y/o4YGcFMoTGTKeCZZTRt/ZyzNEQq/F5P4gsYnLzPt8+4zC35heGepDTg+vz09xIj9d2CqvAJGG66b1Jy0iiixrmYh9gD5UyeL/olEKW94gvEdzQL4ZHMRqjXnCfINfok4r77IHsh5Uz+sOmHxOl4mXP+WUFZ4Wy7wAR6/vIRH7cQMX/2bNak5ZKLM3c3fNDQgywCQi/8I49c182DW9gpnWONIgpAZEIOsKpfBOaHYcbSladXLB5FUcGNLM9B5R1n6xZCiPE5WlcZAHWgpGFXSRv7qLZ3lxI2+OCOIYrx3unVCDUiLlmlgZxuI6oHR9/9auDBfTeeIYgEqNyiV0TO1bWRQQlWLHSzFYLwAqILrAfZ4qrOuiJB13+iLa6wMy9rFHinhDY6+12Xm3lhJ7BHc/BORaOA6F2/Nl7Z9jyAz78UHZkNEb4DtZ2TAztIXYP9Rr/LD6sYqv1sP4AubH/FyblWPfofMEJttUxHSbLw9bV9+nCEF8TmtGPOznQIf6HMFHrwC6EXG/Ja5yQSZQGpvV0DTblJz1DgvQsq38pEqxZDGlOLLwZ7YYRki7Ew8DHiDtRdqJmhK27zZHh8un7WegTl6PyzjQbLG70SUrXecTSpc7oWbjNLueZlbK0cadt8htxaSvA2n+B3kMMWCY0bOFMiKq4qpKV3RL4cRdZgFXGiDHwIE+lIEcByyWuWolxJGvcVqHu2FKopE3kA9BbNvchnA/cWYWSrXl1a/q0//IXI8XhEVOqnIoEkjWh1qBVH9Kf+TOpwKeS46cJGM8zRxc17eHGVZphCjmlZ5oYHz5fEt3Vf6+uAFRrMjBTb+D++mz+DqfSMQbYlcqbyIbc5nQllx53Pv9H/6K5umAI27V7yW86fYQT7n7oAH3iNEKI3aVH8JDZLZl4x9hPf3NzFeBKAzmBbSbbmt3DgW7MVtGOIbUAJJmaanWCN1DbFIkq3mEC+xTcCDD06A++NIyo85ZDgjGmYIAlu2EjA7ePl3T7Lv365DfSaGCabbbACLYRfmGI+q99wtReQWqWF0gldlnC5x3p+Tx3Du5uJloDGfZyFDqtKIpy3agU3+bNTQbg8xFpZtWi7sr5kTOlAtexl+XBq6BSi4dcALzMHiyA0La6Pue0aBo1pEXUB3xcNI1seteBuN4lU9BPTZZEYlM7tLQTv4Rkuh4DzfPjld4JoFNu370ia/7t2ZOJ9Z5T4Sg05fNBXwI+J6rRjiWKIUDwciqU6EvY7g8t5+OU4MTrPQxSELTYXwTdVLfyhz/R67dLNaCJZg2LY4wZAejgjtToqvfxBKfzwuB1M9Fse6E4GWX2JwGp3S1zJ9BokHV+XLJI2CnoCyCetNvQAsd9312WeFU9XDdCQF9QHIF5kQFKOWJT7akBHHst9ddHHj1ksO9cGlHBbdpMMvthy54NprQdcdN/pfwiKvsNgJ+iuCzPd443yfChhwj5M/mjj+tj3Ve/f6J1V/ALGlVY8scwcZKAXOPNeuZsGj3LkX/2oQe6m6bcV/AN5XfZCXqXAZqf5rKaAJvEqVd5ztK/ktmeNQWmidJk0bjD5D2TDRu/jO6v5I5RNkQshzSTsN9WPtE0R+ytRQ084GbXJj3H+u5uq8GJYng8rUQCUxXZ2yugJgN9QcQ5QGGTtihLkPrV52O7xXbby3/4zNLRcMii1l3Z47iWlDuSu5qjOxV+W/rJBIyk0dKo7a2QQRK12U5P8mopoJZpop+d5KFYGagwGvt+xgWi+MjNfBw8SYMh3HLXADEJ+7vcpheewLKiHrAoOYU+K740FKy7WZ/q0ZMk7BJmZshGSK8JdmQbBSl7/C9KgWCpIM2K0RZ+UmLgT5sQxVJcNGw+zI93CDKOveyduYyTpUcmz6gJ2TBDkQuZajemUh5Tx56prVXgvfTour4Xabywh3D287wVR8HcCdKE+pL8BVgMGBkWXdvWbd16Z09kOjgDtiYUjd1I+LBnc2d8qBTcQnb7IwUGkGfgN87D1WMrgz+JOckTQeq+NvS2lc4HkY5XC6+EwOcKeTPYFaMWCaUog/svwbfRntaBHD2fc+I3/nTPfzEgl5ROYBtj4b/IPOHaMWZEoQrXnZw6KOkEA7WvH55uE+YEXi0dZ54n2CuRsynrTiiCBKwGNQ3eHi7cCDIJVC/0POxtQot7qGyIwLrn/0ZPjCKeGKvMRSpAziad8a/5FHVDC2Ly8ouU8Mqpu5fS2qpJ7Zmj702fyotBNGYTVWnYnYZY6uFOD8zUE0U9e2DPbY6Yz64To0kqcDYCvIDGcOmhh/goRoT0wNkG2WH1Ukpc5Qs+Lt/K4Cxj5gTvFAecYmMDyO7dV5L9rvJ6/IaIudP137YDJovO9Vd68eQ7h7BVjsiTX8RC9F5bFT8v6KBKdg5DxZo1G/iXnufzvwhhJ0PePuSJbMe2C+sLfESlbOHMYx5JxJbDLHm5GkA1LycijlzXQr+wm+AvWG2tG2gHfHgosdvU8QciW4WzKi0Hw5b6j0a8O04nbAO/pZThuG479CED9uyYCVtT4XTUW60YsdpaWRUChjbmf4nheNsGlfBQcDPf0wA3ujPLkDaSEippKWDLzPk66SuimP6HcP+UAlLy02rTPevxNgPDc+BaFZciuA65EPk0vcGusTgCnL0d7EWEnfCQIIAGw2v3E2WhUBNVEZli0voGpo4PtX+uhFL3/njKxpEvq8w3grhqNrrRXPM7qxKsxCfVfWZldcJC2DKfi/VOs0FGl/rgqaHaQOjyLcZFGFr27C/9eBXsTik8q48UlVfjbeyR9HSundCysrMA+YtW3loXBBTuKQSZmtt+5+0dVWnJBr9K+lMeLzOXiQExf2mNjMVjKABfUl9KsE2JHm6GnfPOYJ+sZRywjQrU6ZDgHVW4oEYvkQiEyOS6I87oXJBzPkWqYvbJXMVu9zmUKHdzRzRSO95cYOQngn1dW5wGi2QPmK2nuZsjwx3zgqjtuNlUjAcVN+TsOPLof+APozE4ttaF3NuWtW/YpA/9Hd7Lke+7hu7Xq9XTXutiV4MDoEySKJ919A7ffiFjIeSkrpEgFNr10x+3kFJzaL+ToMlMcqsyQOZWyBpGe6M/BOoMZV04Xkge6EkdHl+NUR2akLfYCunbGrWZ0DirGSpBiOgaKZR7MIwJmyiMm8jSrFwiidzCMNr0JnpbXSeQ1QtEQEM1+1Abx9rV1yBqyDQEb1K7CKq4+O0z3nhbGfPV7vBG5tLQGfNRy2TaWCUC2FBn4CCDATkwKVhpP+LQxxHkML88NTtGp+d+raf53i9LtHfukey8KsqWr4OY0h1vdA0r23+k9n+a1KPwkV0TpS8Ho2aOoiGTRIJeYQUIySP1fGsqK4myuLmk+KglTGhp9wpnTIoDcvr3IzQUxYqhZODDEeI+hd9odCE9+a+E1JLYklOOIDNBibUM56tpWq5EsOj8tNSyUClBarkan+dBs/kzUyziwIdu0ZLPG5qMT8X/n+emrTzOuqYuE9BHSyF/hiSCV6jAcr1U++98WRJg1v2oSGG1gzusN/ndV2AnOfg3zKcqDpM79TWi4mhkQhLhiw0YqYR0emjn0JKMmGQJAQzgP8+IToDMkjF0YZ3vSwnKzGjoINIl/fwPNVAhO3Ih2IXEgIntbP1qEkEyfh1eR/R3l04CbPn1hbQwPYnvpRDplvhjrOXicMhA41m8UYil7nFp4OCL3LOYzo7LvRKY0aOKALyX6PpGiqOEMFXjf1dumm+KtYzuSbpLJUiTHN0/rpITkapgyim+lOM5R3PM4hSuH0J4HBVbX7lbn21BvswFX01qGPu8LA48VsqbjGz1MK+dFcOdxVba9XIrqHDl9sKpBAgy/mY9zy9br1PuLpT5jU7e1OHJI4v4d1FyiHLIJpvGTb1eTNHOVehTaDttVT2cGwXEmxZkrGPWUmH6NX6aVBJqLJ+i6T9E0VkM1Jueiu8Psmz8vgAbF18GtGMcOQ/9FAOZ4qXDdPu0UnytRLziUdxvFWeaAFd7GdgLSsb6ZOnbUMs40FRnT+pH1nxcS7m2RV9IKjvmZDPSxcA+r2PvPnYV4nSlY2tL+Lnx9JT+qaCC8NqMBq5wqhd8Bf9Kao2Xsaco3aAEoiOOSkhh918i9Gkqj0rShII/5wf23YYF1Q58N/7p0BABKhSIX5dEQWZLZ3l6keVDdSqw5ewmwohDqav5AwRL/8QQiK/AeoGxPtzZ/xh73W3ZNYp6pMiu6IaHQQ4F+YXteikx7H6fkt5gXcuHyHxku3NlUkHvjdT4F5vW5oVi1o7QllPvDr//vyJfNBUPS88NwLnWL21s7Vuw3N1PcM9nCqjapvHUiiYheUC0SU+c0cDKErWegZw5CSuumLGXdcb9/QWuyKSzBD9g22Ti8XbdLI4WStMlzaOsdJLOryO1b5z0ljafrPGEgarQfj9m0Kd/beUiyQH9bXTT57Kt+uFf1LAla6tiuRueEr8Wj9wlOOYcbUzPmNgwrif/QuPdjjtD4h6gpzDDdtlqPbT7r63TBOMkjI2NhpHI3dUKy4FcoxLZohC8a/+8MOT3o66ahsgA6rtqJcA/5bFckvDFwAFeg3x866dOwNdOkrj9IJhbh8kOrpsdTOHHgAmgmrB8ee3ot9lISWEqbo4e4E0jU9YwxHy4xSJdmHrS92jWCgZ60UiRMRHBgJvBcZioXjC+b6WhE+cGw0ObWUAIo7eMBCVCj44DrzqivsXcqhkf0qkWHT1YUES/azYmY1oChgKdg/8ypRUUOXvSz/XoeiThJdeyz6Dm5zTe27PySX4i9b1VIYwBfZNLhE7vd5B56ML3ZRzkJxP9ptAySZqsSzw9mWqnPOLeaPl4nzhD96fpp7gNS+n+Z35d0KwDeGVzGithNrA3wqqWpfjLWg5wqtLD8/tVzR7fBB/W+jovtKCbxVnQ87P4QAu/7BdDbaudSkwaEWR8RjuioYRrOxGzFzvP5uPxFp3TGQUKR2pfn2NYu/TZI2pJKxcOFOr7FLq2SaYpCkrKLPe6LV5T52lTUxo8SdUq3mo58qIeI0ybeWOYyVAxq4xSGFRDb3QxUvvKollslFDWmJhWDRD7/hgNiGj4dzwAhaQUVcPtWF6wZXfByqZt1gtyEnMNaPpavH5YkW8kn61zBcCIgXbY7+lvqEUiQnPGjOk/iceKj1dvByx49/1JGJRjUsrhPSYg0KOFiwrKtSOKaAp9SV+zof3XyoTHLrv42W9mC901Ank29uRoOrZKg03JuDILL/oSzxkhpgtXmgslGY3VmCRPAU4UfbNNyZnbeWYHZP/e0E/GrjQVLA1mcI9t4bb8Z71EL+3NtM2NrEHJjaa6lqO1El0WX9MRuzrjEQgRiN3dw71PrQMGFOLlg0EweiHPLzDeaRWYreQybK0hVNmj9U9vYsva1CuzPqq2LOCHXIIbjTXUeSQvVXySYmL98hjVWwYic2kiSR+rRZAnk+xXJXlnvkYiqqRq87nWT8ELSb3dIJJD6NmaAQUroRWHmTe7GYxeKKfU2T0u1dakGk0/ytiklSVmM/muynHCp5Ry1TvvACBcvgjkTUGOMs5SpJC1MTqBpAgCTdPwkH1v6nLp3gqqtU6b1rAdhKNQjWKsiNUgS+cawiYtThCGYhZpPJ8uWbDJwCVoJH9QyRmgesm8iR34UzNahWy+XKC4TE4UqsTnUSPGHFWpnGrFh4ZO7VQHLmd1NOT3Z8KOl4xDO+PrrcgWYL6PR9sUVOCKtVWGRw9PZI0/sPgy1GQB3lSLaPlCd6/6n4wnNl2LTbcbDTWf0/qkBhD3TlyARL8nG1QBNrRM2d79+Lxr3mZBddBJ9MFTV5PmXm8OTvh2MDt2qPzPPQoA6q80220JAaKqcX2Pnp/RADcJOuIqtYuy5n6XC15yr8JgU+5E0A2+sOGBs8DJsUiTPPh78uSMEw2w53A7Ha7nTgL51r2IxSklDbQ9wpJcaZ9lrIM5UcxMyoprcmo7FC3CTYibcZKGmdiPpQlO4RJrOFHUIjz5m+8TWetSNMhECokxAphZ0URcZo2iYtyMXHpe9aKnSToPgbi6qOOP4tTl4RI46jFg37cARqbcL2Kf1IQqrd4iA6WZEdzkjncWAkFJp6LBPPHEIzAEQb+MoHK751+ect7tD1Xg2PQvQ2aEZ0E2jSGRTLENaAXwdzitphYPmUZ/ogQldv5Rm92Ru2yNzuKaI1aWBVmfS1O/c+44rr7RmpV5jpO3dQ4oScpgVVX0AY/BpXtImHvqcWVFm82MYvWcmTWdz7Iav6xN0SUl5ImAM8BQj94GEuvBkXh8zrz8tzUW2JpZKyr5Q20oAtPKUPVHmyYnVR7eXtWyxaZSeanqKwZWvB2wr4arkOvN7yhf7a/jYGTrMifSQKN4sAAr+jJaLhZMzPDoPpN/PZ33pYy0To2NbskFX3n75SBeuyOtO9ZEXYwx4sAIHs7446GLw2wVx8m5BiuNSLrovYdnBJHYan4+Nq0WbHMZ4ZTld8ZzN43U0DcJS9nW8Si821E97KSIfaUZuMoYG+xW07/6eBrgqE4am9dLEAYWEWDdUGKOfnfzd1gmX5Fq6k9IRb0vB9EGTa94wjOzfMT2sa/KQo52gsCzbqkI0NvD1Qdc56yqsD8bbAiyq76YNMzCLfZea9zGahp7KqJb6Em0+coYJHHIU7JfDeu05J8am+e3kiNiOeGhxENFScA6bcfMKs3IlAGHIj/LXrnGOD9m5k3NgWDKCj3rhMq+XqB2KL91HQkMuUxKH7xcJlWCHrkN2Th28CjGRYDqv3XPRcbZi2oPmzf3+/wQA/6E41vBMaurmQTBj7f6PsS0qywJZZns9RX8RUsxIRVyRriQ5byTwGkQak1bs5RVLR6ilUW/VQ2Zfg8vhi4dVisfVIjfxhw89tJ33vnOEoJF1qCXHRIybnja3bZpoMYGe8u/58aSBKAd0bQsZOVYNFfsh/VrnRL0eUtmvjAJRo1NNknLovK9ZeJG3VxVLAD5g/BoXkFV64HKY4N0svCqjMhsESWuDeOqs9loZUDQKolcp3qHLkuwOq1myotZ0FlJfEZ/uQaR7pdOmLy7aCOqYLzSTjM8lCykeQbTogE+nLZwiGbsuB2O4ZGf8cdRTHtfETlLieHbXSqTWx5tZKOIPgaY58fnRKsyQpnN4v2BLYrQjzAn12OULGYNTvPoMEkdVEiY7dAb048b9/lDoe8kq+6AEOybsk2EGjAICyt1IFasYDJMOiNPDVqS1x2qn2XsRqsURy70x1EG/3s/ffjetQZaeVTQGKuJaYoespgUOmfPLC4ccMG0rX7DvcxaiyW1xvdox9HdGNrLYipUYd4Lt/9pBh1p3m6exNoaMVBTayW+yWInUhJ/no1dr3WFkxD1wEKTP28rEb/WY9qqF3AUPhuF2JQ3KRX91xBRQ0FZ8siiG6+P/DC0tgHZT+73761nHJlgpHL+CLsN0LA/vRUKJnopa++qmeqSu3T9zX6ZcII2jsDWYKbElPT3BBtlu0nErXYUHToJW3U3iMm2Q9F1xW+bV/PtnetMHgts+jXdDeucyUa1ChTyn1cIm7V1hap6EzRFlN469SIPrH3qmN5IZw4wDQhtt+FNzM5d5fur3akkDcgw+ZkyuqD4ihXzJ9QlspdN9o1QoNspO2ajZqJ5LR/bPUrmFnTgLR9m58U1SvM2q8osgtYiFcgso1iHXIC/n82pibIsf719SR5h9PPkzYrY5eTNet3ZyYGhERD1doZkqsbNLFzcAzGvxmEioDM0VjuPuKA0U7UzIF6XdxLpI1dAHMWexni0HEWnC0dzq9Ciw+dj3a0pW3V+8ZOfQF4MMCKeOzNuSF23gq/cqkBKNvIYDART/d8h9D3FghNIYhSimtIOseJqzXHFWDJ9BX6adcKnrISje4OJyxD6Ku8pG8HUR5DqpFdyxM0MLIqLAvC2D7TQp2t0Fs8sQYv1NG3px8rLlQwnhz2xRKBQrSmjle76clzRAI7QeRI9+aKGplMXJKU/ojjIlR+a3a2OaAog8jRDbrUrk73TsDw51MXn15xcyZ132sZV8c2s4Pbuk0qMKN43xA0QiJ4TuzGiojmmoRX1Ga3AwERCd6CptelwYcsuW3/qr9X7XnclP1YxwsemAGV9l5nn7rC+RFVFBSndnM4y96kJqHAriMqJc50oHFnVieDi+dyWfDa/WmZOcBWdkgy5xfa5mvh0C7L2vjpxAH2yfEhDs896/RSbpErZNGg9ADUWqG/JLmDlkhcg2XVZdg13TiMrhQftpS+fAWIw9s33i6i5vqsqua910Gf1IhsV0V02l2MhzrPEonjGKUwIBa6cGNeW9XX3UJQ55+T0PZuW5miUVdFAUNGl/0IaV/PLRw0VGB/pvOZijS9xVdPmpNGLVDEPs3Su/Hd4F+iDLxyxDN5pZRMxxQZt4KrCnz9JSa0ainLDNprkbYXPT4jz9RBwS3aZLZqD/vV/rJOPAtEj4uv0H/mm71qpP+uB1DCooo2gujcukw9dtZDz6XMMvjSOsv57inXkfE5rwr7oF9FChJq4SiSlOWI33Pn8RoTCoWG3a0NOVqpQbTFE2vQ0zLH0tJhPstJmgV9mzwplPmqKWfN1JBMFrPp2q0zssQoxS+6YGboyKg2MhiUKJ6CXz7N6aBoqFqwcVzSoHsnSGwu7A3bVUApvoRcolgnu/txKZQLeLqzoENLxF8dfQRTfaRUbEE2HtBtHbQ/rHWnAkZWYxvTN+H8R5/g3aN6Nkcvg19D8VmY1bYOuiUpYnEgm/cMUH/6ffZrVwU6GM0skN0zg7jx8bcuPnweg/aFAcx60KpsCJhzbEdvhOXUrhw6+5u+MlCyfXV8Wy6JA4/szR1MwffSBu5DhY6cLmShYV9ApiZgQmOFBpTgg9HvSlEaLY7ylw+Z/kIy5pmmmWOoxeh4fJdaeO2g9kev02JVIdvf3Zss61esdNDP1Inu6xw10d+ZTtau8i1oI3WoqK3+eRuL8Ubi2dT8pw0Hf/XInGQJr4R5f5FsTV4dyYFhlFgleLghcyJ3r65Frecf9Y9FrLxd0fXs8jufXGK9N97fcIfGYXOLu2kh3fXh+1x+Us8TtDZFtcqLAbmDiZMCHFiSEuGJs6AfkirjJ4fFVKqjBlCS/zoljOjkpz8/CeCv4U4z5fYEEWIBXN3r1bufONeLRebShjZ4GBmFwsUdDCkCKAnXfV7CataboYGYz+41CwG9TudgnaCR725kxXfFmrzNcN4KaO5D9U4no6XlGna9o16b7IKg/9tTXF0rSk2C+4ZqFDWUQbgKKg6yhDgWgV61cVFkyYNPyuZUqsYX5dKngoMUGdN2O9pRVnkOS6uxcI06UJqDvNuvsC2xo65m8js04mK19oPY7Z+GTlrOtJFyyfqc/Mqaw0fBXGZw6MVUlVUS93r0EjerBB5J8ts++sKFpUeOCBujkn49w8y6hXG4RAKjcHFU6s88GTntpGVkwR0Qn5UFT6cPCsa6j9j1x4M0UDSUMCKLSEDKh/OcA+SoK+iYdamMYPqiOVYM6u/fJPYSMEwXK2BZn2CL09JamLquGUXBOfB9V5+LlARh+EpxLjQN515eK4rLBLE/1yYd2jaEz2jEvoi0a0u0HTvfzI3ZM2jJ1mO3Bsz83pEIcwQXR+Ut443Z1qg6OSa0tEj7WkoaGgdcIKDlzy9F/oFeDAeyaglSAUwpxXU88PSsPgw9R/McumPjKQbJbCmrWc2suzvuUOHkLNAVSilmjKmIDr4GnRbUhhN+0fEZkowOD1ZO9VICfP1oFM8VIko7/DstepXEALYJNmNb9z2pQcJ2V0vHLlFrezhBKwSYMNo9Pe9awd0AskdzpzTzO89UtAN/ELIqfF46vBEWYFDkvg58LwqmwDCNrOJjIa7xTBnb4eHQ8pG2u6Za2f0XXZOTmKBbXeV6zs+pW4yPvG5gHE99WkAwai57nAxPrRnWPdsm6RMIzGsUqETp3hakPIoLASziUhjrHdTxfiNPR28JtVhArZJUlWdoRVGo1PymkkUfBiMo54kh9982M/PdQOQuKXTsTRH1FrLkesSF2+278YzTtnzF5Nnpb/oX8y5P4CCYxvXChak3ZRvjO6WADvTLzFRNP5QGwWoOxfZQPEOLIvlMAm47glWLsWVKIvbVaSln7Pc/6Xc94T2ampzbF8/4CVPVzoBvVQOnYQfSCxkbp1slr+ZNKvPtVrWMHfz+np4+kaihZEaQ5ifpKg4cRIOPvYZeIX76UzlG8P92ZI6jRL2kDIr8bB1bLSHx1wA65os+ZzQPGVIuFIz2G4/52Gqf73OZFis5QClA80smnn/VvFc5neQw9RPquDmB3Dg6XZIwuXEIZTcyJ9X/mkXFJDU7AQVPLjTikAiw/BLP69zhwH1vadeGQxxSauhhe9mwuh8FA2RHyURdmQ4uR7PKdbgf56NrIjwa1T79MwaHLkFtpQDf9E9poYF1W5kDKAOw14Jn80R0mwMTDvWqkcRk9ZE5PpYIkFew+MGEVVzOLUAgVAJJXvZoEV3plNQCyTBq73I44WBtM4SOBLcI+z+ceDZ7aYMFGhKV27XNuriUV/78Go5KcQGC3HlBWDWq4tCcuAbgXVm0r3XGHeS4gl4i3O/IjO56pP1JNIZhKuci0saxN0CFL7HCOn6JMU13rUfoQ197yOLW7H5uNZEJ8ENo6FMSXatnk2ZkoA6FQ11A4FGK2q8UNyb6I51Yr6wcY5DpQiB0e5jhbvgWQ1lesLYVS7KAOwRZf3deYzcosGYVqZCeE37Zx+hPIlhpUPCQN5KZhCxML6oHWTHJGLy4h32PHQJRvTkyDf2T22cwKUDbxVtgsnFH0yRiJuJ68pO2ubv0O00jEpgixmZHEb/Cowl9tDiaW6kwnHjSht6O/L3R3XgQ1Nb3S22O7xJndPRg/xgHYB653XvAPKCDcdh9P0dgKn3LCKRrXq+AfMpqISfFNz4GN0tsotMmU1MxI4A8wYwGVK0k5b6ZMPtPytvHJBxJ6F35Eew0vdpsuVFSNQgj7AwFDbi1eHxXE7RaN8VcnneekLwY19yoiIIKmE9un6nosqIdc5OtxyvW3JQhW4QYIqxN6GWhdGb8Eeq2FnFuW/nn05pKwT7WlNd0y2bwRY7HQJQiCrWJQf9wmEJOzyEj9nnT8TX1rYFWeZXHNWSTMqI5Hcf65ZtVECL+1EP2/GUn05KG001aDcqhBVPj1+xltKemjJeBtMzd3Cp86UKwwXxL0Ok+Zb9kb4THmABY2WlUFppfkYTWycPTlq2FnFAMKdzqO6Kh8/80XvNYWu9AEENQEGdrHfj98lTZFql2VZGBDb8bltSBhfkgnKgTu25UzHadDBSmzwzDhsK5r7S8nB4bz66COwybk/41+rKpREB7dR0l/ydJnQi2IRT72Qg1xh2iRqQBYFvCTSpGgienmkgDYq804AsQRJbQATVcLbcwAM+h5PmSBj7NCaPcWhfLotufFwwZWmI0hmqfX9Jy5sWKmnkgjmcrz0xbJrlHxMI8wY2Bved7rgL1oKZ2SGAitZcYbaaS8V9vnV2snomsau93t0NNVdjXFt6jcZXJ2UvV3a0bxXazpcH06wW0mnENHxnQKyPJdeADvOCTgVwR1IH/46s4+pBk0huVuV6szADx1kPCvnTx5iFAeOa62Fl/n5d28BURppejcDaoBATdr6gZh9IdWfRwf0QLQ1F8ImHoIPXUxrJf8Se2bsevPX/ekjPpSVr/VOQsXpz3mPLWHVILZocLLxVwdcizH/hq/dy7bqNF71MdXkgWUgnI5t2BgbaXI7DzkEL7XpnIQ5LInoo7aQ13t7KHVlnvmR9LNqKeTyU3HQ+5geGongpq0SOV/ikRwYF+JNx0nuwva8laeX+BFVzuQou0zmeyQF2LCkpAYFIePZG5SOFGiD3woz5w1MMDlqmATgVmgCmCLdo/mwQ9Ygcjps9a3qgrhBz4P/DJ4zl8XZ+/fQus6eVCnftNz+dlpcqGZCSmjyQ2Rjo67lwfEZsTZKJAFdVMLZ6SlVXV0CkRjcZSHeSTjiW4KrguPyy1p6b2EmiDH//fr8W7SYMI2+nXaqS1Kke3xVaxrqVPobPGoSm5ZDMBADG0ey8Mv5E/PX5o6cby0sLR995NX1Sq4WFUDUEE9IcDx4sO9+PcSw3RLQIfbmk0nxuErAFLnlDJl0SiuVMg4BPLzeyIzshmXRcb5WbSXhy+HT1oafS2OzVF4+4U4W5I4NWbQZSXnzYWIhiccMTv5F9MBnYerm0v/xTYanG7NY2rEGpWuA2Qgd4mLsiOD/WkopScopPplwbwEj0JXAittLnEICH2oWehdmJ+WLNR02OrXIRJKkv9I5FD2ioTUUMY9JCDuBT84N/600eULU2e5tUQBxcmHtEntsr7T91I+xeYwW++7fvjEtAJ+Z1yZej1aPbBDj1f6xOl043rYtF8ffjZzBFOYONRMawlsUNaLGgE4IADZg6yXiXm4j7jZXdJxTFa6hX3iesRawne6bILvoT84u+SB0qxP7YuVKWlynl+rQPm991tTzxO8rJ9d5q3Ol6CmjZAuSLaL5lnpomNfrKmQZHUynoIwcQq3r3wOsNpCv/IwJTUB9sqfOmQTYJizY1OU0mpC2z3jkxjdzIzSZgOb5jwCQxlsTvNF4ke3gCsgN5/6PwiDxbEoRzYEO8joNny/W8XqfB5CHiTeVcb+o4XwqIDvVIVBXtT+LMGVgQj2VL4gJ94GdJQhVc+sQ+mRBTENagNGJrk5PslUqtdQKwLHG1UQljDrJmM1XKB3hDQb+YvGPi28p9M/d/Q7uKghliVggH1masg9fKV/mUoRAyFQVcH0bPabdlvl7ckRLPO+rMc3TGGZm2fAN45QuYSBcRyGCGq1qWIeqTVtg/XiNjrBMffOaJWDbQplWN3p/JTo/cnnK7hIE0Kt/4y7+LSTMR5MIfg21CIyEoSsW07W02QCUOxy84Ka7II4alEkrUUUnulU7zctKb4EkKjddZgqWKz9/cLIQuJHk2hL8hdXmnT5yUCbURSeJE9hjJDNm/SX4kcjJtbSZsq7PL7x3ahTQfUFrbgz33otxCONWkvVlDvFCAeCQ+f5jkizt22XxQVXsMwpaOUii1kSOO3Ac5tXdRVqvBdLOllYuHKVyM6SCZHOgvgNOLfGS/HGRp3gU+811BKZuHduffWZ0YAAGZI2H2yomfg3gBe/aSCJM8UzMsfDs/ie/NqByzGeXgnfkSM0DJnWRNlCkjXhWoNcw3maWK4jXS/X3OTOy/dBzw0nTbAmRGhx5fWtsYgvhaXLoYOXajFDuLlmc5vLYiAjqCPUduvNyiJrnZw+jR+viHZIQJmTSepObLZkpEs8cONalQpTXwXUYo2gQjKCh0H97hNmuKqeK85KYHD5WoTg1FejlDtQPu6K1tdPsn+vVK7aVJlqXxmZCyOK4/MJbkczjKOhQS/hPiMG5O0+39W2CzTRp4EecBPmzrvEYelQZAZoqILyd4egey4CJutjsU3TUNiC/aQXeiEC5q2H2+xMfctulf/toJZiEFqFy9KE/RqQtJfni9M/qmM5Xnx2MVVrOcL8/BZ30RP+Lv18BSPmew+dhwSj4an7EJyI9vBuRlmfdYsAW2wkgihQz1uOKgZ6rVdqNcTYK/8Ywm4GMiQQ9O8KHPAAqiFRpgabH5lQ7QeVWzTgY3GAaDFtgCjWEI72+1KDAdtRyBGU+TKPmIezmNQTVEd40uIz9kEOeHDmfJhJYR0wTNkOFT2E36ZzIhcxN3npI+5O4uGQ0vP7a9fSQ6MQ9fSQZaUvksaoftsHL0V8oT9T15/3gXbO1r5XEUA/7Jw5RgMdtYpLq37/4HSupPes/WzsS5iXtl2hsS7d+mv/FKLyt0yHH6IXKuDfCxUjV5+XIu0fI317fv1SLpDq+xGLzoMuv2UxX3VgEnKNmiyVRcLM3SpabRzFxD0pckpOz37lkUtmcWE9NBntIM6uQ39T8zJIbuzgc1kIUJLLFdiRyRT/qw/7eGIjQy7oJ3bwHSdQhtYkcpMB/l+7y9AiNag5XXlCV6g6NEMbUbttZQWKYgqn4WxON+qLw4I4UvOmWreMflKK5RezD7w2u2jpDoJmH5JeGP0cNfYZvCH/0QvKyy2W/CiaB1wKMTedwkcfR6tc5H1VFqOQOXjxRt0LP6/7VNc1x5hApO8DllYZ5Y9UQlsck4K/7hRkzugEJIzA5lfNjmZvj/eGzwySQ1IF/iJ9PFHH9vbDb4TY1qa82OCe2DEP8EYIXwAyfUOitqbSMf4yLS0hMz12XzmSRIFubDymk9HuMeHRIQhgp5uNmPqIJq29SKqfMKZDUg6EcrEmrTeAiGEn4VmOiSou7Nw66WrVvJV8mKfEHR4s7bZt6wZodvOAedaUT9KXIoe2kXpx21vh4VFt16ut6SgE5Kl5BqAXgoL1vZSAyk90zoS74610YoKzIZu3x2gNmFp6X3yyLzrp+zu9yW5rR3xR94ElE4KlgfeGsUXdNeU5cSU9mpI26gHscM94owI4J8yHj6OVGGN8W29l8MCk5SLOdpLhNypxXB/TaWz11I88ebq+QkbEygc+QmOWGop+y6xJkEnmmWprEkUpdcR+wFTpZpbtSzSBovehCRTjKnledjBadYqh8jrjO8ZVVX70RRl3q4QnWhHmCJL+NgVV/nRc02SAOeNZCxZjrVGKVU0LrZ8TqXBU8rK4TI84jrab0ddcNbktJrLfCP3B5Wj5epmLwl/eeDnTX68rlg1EVzIQQRO3XP9uvWZFLl9VdTkhTN0RA3NBbXS9k9sIJCvq9j2vC+/ae/799L/eBEZeeanj13fwDn1LY+ff9TJUBnMV2+gz7U5A37XKHgLnWfSBjxUjE1n+t7LV1WWkRceEnU0nCHWup+HGg23xsdBoB1RqDYENps2PDlpcIupI/sj2CoYPjKR9R4Jra40a1W3fG7AVfOybyqLlOKppdQSMVlaYUfco4lPVjdTMs3tFFjkoqS6OdKIE2JlAMzXNIZ3+AekS3KAVOUqLlSst4WnK1pP2kZ6LBePi+/QKMpzadyslLk5ykjUSBtqpw1rY+Sb7hMXmshe7mFcegS+bEylbdqLPAyBE7FazVBtjoUYdFsPm0r6nJsmXh7QvRjFi6R/atDvCHL1qxC+pVSwdf6IqXiTy+bM2cxGtto+1jyCu7z1+oAygSOiiuxo5mPHOqjcXq2NuqNmdvOKiyCKG9XNh6o8bKkd/VAJODxlP5u36WkAbU6rxpPKHDXhC6nW1qu6K7dfeRK0TO6LYKeBvAk0NgwPGOwk2Ehq5cevPIHBErZSnM9EQdF8v0N3ioHfv6Mjusb2NTG7hoTlALXPTo7IZRwayfGhTXTDrZxFTyv3yIFJ2eT9wOsDD1GDqoZWHGDNM6sKQ59B7M/BdPozPINZXFv5oKgxhPBN/oP8NAMxf3Tbn2S6r0/LwQ/WJorIJqjDSoY/bh0BkiEz9cktdx16Obf7ZVrOc7NT/5TlT5n+Y7hyXJodlricElrcZ8g0fdpXoDrdEgUFxGn61r9OxEgXLCzTT5IbBbWdU9FYqp0GOHN/8T92Byd5e46EyD5rohjntnp+sfuBmJ4/7LHr8bWzATIgQruDQBSVQOvM7ZBM1HDJaoLe1DuJj7rfHHA3oWlnGCrPOkL4nM/HFFvMQ+H2iRkI9BSZBVxb7mvaxoLmBWoWgWHhermvA/XCvRhrtlK5OhLSTUmioiLD5Mhr7XkoyVrpn3EtJ9m55j3bNfBfURSetBqdMF8CG9uOpMqvgVQdj3b1JFvvPzmCLTtbNR+tj/WIymp/DdjVFc6VtufgA8nnTx9XWWpef1PdSnvKP+gAnAgihamP8XCpJqrWWvjNqghOptguErPDfKlVjLmXsfgWMcRNNNO53IoD0ojzAH8EcaVGLprLkDS/rn8ZWBvdPVXpSR/VV5RZDUlR5dPZzRxeLdY8RS1/gjBK32/Kvy8PLhWC860pO0GvMm31vrVsQJhU3Fq75H9i7+h7Pwi53OrYwZHDsQWlsKpBSO7oDd/OiZ6FE8Rw3H3y6ahnlS0boFT9QG0PqikqkEJZ7uc5D3qEW9rVgg13M0o29QEZaTnkBNauYdiYy1g2bq0jn5pdH53GT8dzc+V5Y5nJnHNMIWCcFDDfR9VYiuS8a6W3t1cheEyc9eIyqUcvdwmSU+giM947KTYb59HfazEM87kwLOXrQI3iLg0srCtyBhg1ELOH+Y5VDx18De7xfupX2V4t9bDwROmhvlhrRV9JCetgTAs4oQlQ0DtXYsCrQ0wOMt9LgX1a+pbi8sW4fLletVXExqemxHGE+z19zu8XFz1G7DD/k93dFnj4cy5OHIpin7MqkSlwL05EQDtAAIaA6NQBdPQmxjgNMwSTYaoEtoADozQANTDnKbRDofVr0WkVpDiQ0R1L9yQ9bLI8BMiWajUJfCoRUF5NK4DmEVuvdopZfjXgKG/z+zQfjITNtjr4AC0jf1PZ16VPwYwBv6aYX2EliIXzURfJlUfX6L5PA6KKAde/vVoh47Cn+5X1mChoUGVBJQsJQ7zkUURb2Jnhr+wLnorzfyVsOq930Y4SCOWmnvs3aRnUbIjOuMjfs96rgt0EBDYl80H02Qt7XyTqE8yciSJQQW+lpF2BEWbRS5cgjpctGgeV3SNisJ0ONQdkhJtuzSexz9WWGcf2/rCwGhj1TmURsz8hFHnF5PFL27F3U3beR5RAx8vu1De0V7/1VuEeg6UmERTkRlLsv+MBaIoPkTShmu6BcwV3MfwR+owYnPfIN4L5WeIoOhW9LVjHCnGYBx2evQcHdMJShPShM5zm7n0J8Gp1WnLWmU5j0KxlCoq2D3Y2T1mD/gqphGdsLHKD07dtgGFddIKr0SXFkX6zDymgemlnaufF9Rqt70jVY0SvfERcjFgJiE5ChZ8GXfuqHLw3OCkcGW2ll8RC7ZJh91Cbxi7RMzhwYWNzvczbRDBdgXY5v3TYg7yaOou4sAd8yZGqMQrHFJKk/oWgmQcgrtiJXuhcAJ3CNpv4qTpwIb/rTXqOGumZtTj8rHNOLuAt2nkTHUD2m1J36v+tbTtH2tWHdlZGYiT1kW4OgF2/WUE0zhmpVJrVryAj4/+AeqpfKK+usM7Jyosw9aFAoWsVogE0nqUZOm+/RkB3LYCpvTSygqAA2IoOzZxi9AoFji1tS2dx+D85OS7CjGFUNzNfKcn+WKiHf8XHZLjMY5RkV2HyeuEahYnkmFmvWFu3NfZhyiP5MC8ZVsSfHQnQ4GuOjr2LvajZSW29SIbIDfomBACyYRsjrYr+AECarF9E5dNVdslkhjMISN6OJtX7PHJFdBvwPrc08bQIB6jRfCgH4zL1tPiL+wu7doCAxqxzIYEcI7RudPVlpxAEde9CCG13H0r1bLAHCb375xcdPMTlaj0Jz1sqyS9XNFAe7kqe0vfv2u+1OtSrURFJSUcARI3OXr57Ac4ek+TWopcj8vSi9gmYpdP482t6sSCxj4MmOhHyhH7wlOubW30MV7vYPfGuajm7PIuBkiBXbJ37aOzfL4tR3By7xzVJeb7k+9lBRf72ASwrBxutUu1eG5YpqQk/OWl9G7vHChJGrIbujlk1UtWR8nlFvECpAs7L9UC5okXHdMt5D4rDqXgM9B4GjRDbQqReC7N8h+/IWKtRydaxiX2jDFNdYqpveroA8mlgrY0uw5+EQk4lOzflvOk18wuohbJfF3TLHb34eGFKHh5SuomT6dyWHEqF1Hr7kyYMtmuJ7ZX/miEqDeUPP5y7ClWAsWKVr+q6/C3lRbNkWSNUkUOOP6RbNmY8ONMvOJAsNPXpy9nrROMYU9yaqhlFg5wChBPg6x8wk9bi8wG+pyUxN3AE/LUsfUxL6S6FDF0YDQqwP3SKcBSBM7xknvKD2wIJiuV1D82HfzVPDZyEvndBJOgOGXpf547hQQiM1BlnT7FkNNRZoHuVA6GFqKZSHpaK+03OvmcoeP92A1poBmJB/S9Yi0rV8pxICwZOSPA9fLHXIwpxeQlE0+wd+uiQCjdScW32kWsb5HWitSVGdKd8JVpfCn0ibM6IOIV/WAS/8VxBSNdmFHXwfFWeTHnPZ2EgN3Bt13E2Fu74U2+4782EDeCLg/BOlkwotgQFgZsetk0a4Ad4pyJdAbNmIfRt54dylcZyoNsz0UbNfYKPZ6bM5Xk+sVm+uJHnLSts0LYlxka/VY8Zu0AlYHrTY+70e+djW1LCr2w615SIlvD/1PCKd+h61hWMc3ANOVs69aS8haNwDLgHhmvqi4zhGlcH1xD6054LF+5x6dBkw0YEcIer4bdWXEgQICXR9L8AnLkycG2o+Qt2zgFztzazjKdKwFY7fZKJbA5OFfreCjxwiXMwBbgZgAUvM3Zs8Xdk5yayJXx4+UBF/46DjwYov1eLfM72pwao+pS8KSUNwrdrbWrinCWJOfGF3xYAB1Emg9S4XbUIaJnEl+hzBwmEtLChGLZK34Va4XcPrU2R22nn/lhaiUzY58Z4SQlaYec/RTZ+OpJ9hBCfGzxpSPNGZVBKyHcGB/64bEUQ2n2y4bdZ7qskwrqApL/qse3f1IjG5CUSuae9ugvLEC+WIPkR7W9T0M7h+9Ckkp/VY9flF4G9QEnqJTVvc6zaJSvgBDhkx64TXkjhU/XzG2p/gZP8K1AUFD6vzYyIysSQJFsOquCJ74YiJNXk48C6l8QT7aQtIiwU7x2hGzx1xFNV7iW9yVlkWHlKWoXGIcElbzSoTnN0XeCKq85KmBR2KpBfcocyLquLLYLtSQptz56nVWaIry08IolEPJ/ClKW/JQgIsxKN/4PLddSpTNlx5RI1noAPO9MTAyCWYD3thiMMOHM+SgoapfiDdxQTzznROUv13U60TbAI/O1jdvUneX/EEkDXrN9aqKNbgu41/KxtAPZFaQ/le1qnABykH2ovKAyX0QuW9g4Xax4Toc+39CKLfxR6RfPllBPUezTKi0CHlj8afUux2kiBIxNrplRxH7gGnWCdTqeazHygQ9LUWwthz++4VzQgnxMgJdwceDPEgACUFPFojxfqIKylxAE8LSEzRskLnkX2RtzDmJbI4ds3MbkgC0MKHSowII2u9MN04Rw2ZDYsxRFK3rTXCoz8hSWYyIsegHqTYv+pf2dihdtV9ZhrXoD8FeJaYiHtSzjXcWDssle7mL8VcjuDw8XN47B/lqwZlc8piRSuqN3bhFVljzqjyuemlZsy6JDIwggF7BXkOQRpr0jQSOMFeQ5iUCncodvSaGP3auI0IFiLpP8Qu+/+FT61ypHjqAWbtjnCQxzSSg4mRnBf8iNj0t/yLlu+DhWt3ktGOdngf/k0hpD6h4yql845voC2WAnN4xLyPaxyJqYCpDjS4bLhL6FYdXbbThMFKiaPJ48KunyOGLduwRboJ2lKs+4X6zXCq26NBK9Fuyyn0ybCJV9Lv5b8+lV+hVbvRYvmqVLunJ7kYEb1RSBMFlr/BgojCYBLAtU85i0bHIDewCL9dRMs97D0FNOpcddhhMLBKhFhFpNS1ZySRayhIQYtgyz1+oC2H7RbkgbhmrIgh6ZEboC9jVTiF7Vk1UOB4Ohoh1iFwM1bJijg9EjBVBSz+J9WDoq96gSTOr81lNx7/8N0bfeh3jOaRbnjLsTX2E4U9Gl6MwuAeUfo3WDD/TmQJqcJN32x44qDU66HWqKxQn8M2rawaX95hAgXdaeNAcN3tAvPKuEaFWcrjF510q/u01WRwBFCfnjjvz8pPCNZT6KSwt3x5lNlUOuoCOXBrSS2CwO1O0QBV+fwjoky7gwWX4VzkQeABfH2zud3bRVAiAhS3ykBn3A7ZpMRnEYTiDMCKwnqBN5bqyU6HqXOgTwtFMLS5U988gR4UmVSiSEJ9e5kvuWmZ7UBaJkBz7wOy1pAf74Qzwp8hjdhvh94v3ZI3YIvDqIiemc85cW4EyC3hFD7Zdeu6+jd/upQmXysHUGN4XF3gRbXdumhg8qbZ64I3yMPgoMLSVmUWI3ghdtw7p9Cx8SWV+nJhnKUWnswya7myinoXnjxXdS8wVMXq/sttVBn35f06WkBT014intObcOPADeripBxAQl1Nq8uNBnB8Pt+caYyXh2MZuxbatpNBvxorHOWPax3fdaSPSfykAAh1o/O4NRmGdejQM3JdIGD2I1rK6tuz4w20ZM863DuC2yKgkjV5CppY8q8Fq3gaR3Me3+p8oGx4U6waQHqiPXs7QpKV4B0C4XYj1OBDPBGs/qdf+EqKQ7OYYVMRlbwJO0vx0YXyjtHMART1yOXNV9Eef80kG95oTsP1qdcG/wcYvzlFp8t/xpxkiwBwlFcQveCiJf0xKDqEHF8llXQzHO4ib1WroQciEzyE3a/Kmp55Auwd4rOd6UxEzQydNj8g0cZrTKCwvDhDdHPCZNwnY1IpGWUunIQ8PWJntL4DuPJW8EWyUfkw1df8JbqVFGhblst9cUDM4xOd0N70ELzW/kN+iZh9J4zUXFcaZxMsVeqDJ6hzMFDOo3gywHmGRw4bc2msraNZf3u3g1cyhG+PWYBZamxlcp6RbJeArOpBY6Q6I71wK87eQlqjQQ2VQ5j+TB2g79uDfzz3wG8nZzmixnVr6+XLox6M/P9dWPhBIXAys8JYpmMKVTPWIjvPCfLfoQzfMkfVT91bFwtRyW60PNfiVucO8SQD7EJElEihboKCjpNK3HXkM2tupVjq3jTYn9E+5fMZNUoTWG3hWAUhM2T63/ZK3oEctQ5qRmA+zpq26yuarG/Me+iuKKrSyvI9MAPtNv24VgqpEnzBYvHK6whS5cdnuQcS377IdEx6TDjnpRc9bv5By+oXJYuUbhgVTeSk2nhoO8hgCnm3qgrGMWjSDBz1AvFu5zkQ46homzv2XEXrXfZJDbzA6CVuGHO64sUeyTNjAPgRFoYe4jEVplh4s8HBd7z17X3D6UQPJUvhgFYG2cRoWbk8fGL1lpO04t9v8XW1TsGVBUPVnDCPPvYXphW84FKLMeLzG2VZoYoRnkzyKAQOh7szehKdBJHW9xAXeih1ZyGUDRCWkRXwAA/7pqCXS6auWN72n3rUiXmVxq+8HNgZxqAjFR5ff2aExCmpe+E3Y0BhckJ4nSKIXIc/6FJiG6giD5lF38tJc2C4gW5SGNeS+KyU+OXZgM29Z1Q0wXGdw6PQTepvRgYP8Z8XOJ1cFMAV012j0ykPL9rsepnVYogZCclzkncoa+D8bM4Fdsfay3M/dtqpWs1FESLUB6C9/3gDLXp1lojmmGD0lm1qk2qpANuThe7Z30RZM+ORpH1aNWITF7XihVrOfG8R4iaqgFDCIKVaypWS6iUtvPfYmgtTVkjad+D0RDMPK+hA7/BWwbkFC6VLeJgsqig2o9K6ocJUD4H0s7jkGSjZuWvsl1C9C0tFc3SHzl/WxdFoUGWaG7Gsa8W0upq2bHFsqt7wHYwGLNGtufgqpCovTkxgVBo19gH4wpg41wSyTyS+7tl+nCo6Sxlp5EaWWZajKpFJO7g5JX0UW3EUgwTYprgSJyxpaGo6rW3o1AA/latqDaE3RFbbQ220Bpxo2pgyCe7eHLCnLxY+jIayxrg9+hlLIFaWMfVVnt32SQwN+7eYhBjAl+PNMujlDP7smpHvIkuDMtG+23DtGoWRSCnagsNC+2lyHq4hzcJ5rjpNj/EuCe/loDa5hA7sAIG2oqoOJwbsW/PCw+Mc8NSB2CGhiHuCB0ssl7gc3ecCyauulH44z099Jnx1OuQ2vHSdAZFGH4V6YIg4QJ9XtB8OBfZesy1oHjop0gBe/lU3/nvtrtcopnbq0fyVWZ1JLbDFa8InK9xcUhkywsxobZsVR4v9s/yTl7BJ1zhVhIOpbeTY4mxSmI43C40E6L/O+oqaAWHzVCzwz5ZPXzJ9wctExMFjHuFV3ww/utMn5PMd3JizTxABkJWRwXb88VbrsTmkG5qu4+2bj/w2gnJ1/Wiy+c6WWM3IsHGEMnZRZ93We8UL8cCbkZaJhNtwtTs1tlFT55EZOFQR/PJj70ywIBzoIdKQHBD5d6LHLK5J9B3w3VLWbzYQUELOflor+d2oSMHD1on3+gh89NydFoFfE/dqQZL+4mBFyK+U47nq29SNScgK5w1411lEezbW7EbtcRHhexIY9GuwWAiybnC+VjdxUH5UoMugt/K0WAHIw+CoJPuncHjoqj3qIbC9n70jn/7mIq5XXFD2P6KmKmLyh7dn+EX6so5vCOmFVHCyc90L2ZV0z7UgzKrPaB0ANxezvVnXGVVbRYTewAOCT7z4mq0EVh1xmb3DKNvmL1OaVTuiiPqFVp/9Og8SNyeQAu8MxTAJTMURy2ai6QZVA4QkzkwSRlFBi3LUzXzWqVNwXcqsLJa01fASzLjoU4iL77Tp17NNCdzj9z6omUrnKMnCjTOcn1S5BtvxB9Po11xDlVUjjqtdPGQDTj39feNWcyfLrj7mSMyLZDFcPlD1Ou7tkMSk0nw8PddCAsoH9tLC7rpNDMwMGyfExqAJ3CFUjXsFlXRJhJGnDcC3L2yelPy++ufza0Ud3TpttwWQSl9LijjYPT+oVtK5o58mj+I69TJLcUHViHRlDQnZRy6HpXdX9ibnh6m5YnAORLvt16Q3kI2AX6kb+9HIZt05ZShcWu7ps61IcZfugDZNCkFjZuNDT+pUo6Pf7GyC7bZdIaNEXr0KUYraPRZLrte9xS9a3zoeWyXeseIsA1S80MUm2zbrAabuHkI+ffA6kbQgznk0psoitWD7mOH15JYic7fRXf8eWpDjQGvMdt/e2OiBjrjKkTc5hkhf77hA3TLJL6u9QqipjQUL59/imiaEqFBoNlCBi/9f81dp4Mbo0mlCgGe8wu5pKmUIGx0q6ViflAgXqYMEo+1v+5LeC0zsh6ZH+jSMxy292iJlv9wpkm8LH9kt5r/vP69fkBW6fpsGUe9n5xgFwq/kv4GxHLmctaGMMrUMNaqDnMjwo+iuXoiZjnee4CgRGnnFSa4yho37JM4RngbkHOKKRglEGwRN9LeIX+g4fxMdvDleB453b1119q8U7L9/7nAE3mnuJwi9b+06eJBpw55wKKZRey1FkCsytHqmKyPeZwEgajzMUKrYNwgxn85STsfT4q5QLkqwwh0TkZ0HC3OFkaIvHwV+W02V9LxdUUbwx+72tto3z1atJwsh7/X/CkOUsBrOQQKfmW63NQDPIoHwbQYkTZF1rntHtLU6QQwDqXpQU73yAz2nZx/bbL7G0lMZrNkW+VlF9Sw+PUPno1rZWhNMFa7lOJ0ASA5Y2zNHORCW6AJ4iHqtoRV+diC5fCibSVa4gifOwCAJY5iihf09yB+TUB6fYt7g4wXsEZa63AV+PeLKgkQ0WlANf2i5t5TDLIc03Yq759rAV0FHXr4bGF2V1cNcrNISsAOrqvUDdDewNosd4EYFVrVYa95s22UxelFcanaLkH/kJVuNbuP3MgVuzZBcO2We1Ashk095H9plr9eN9acP8wk19pmINSFFouvJd6yMR+5qW0TgGvceVLB04TXajlpKyvi8QwCTqHhkXm+tbNipqtD250CcBwUKC5Wv+abOMatEfUyOF4nn7rneSiBfqzM/2PUme3662iY8E0HGTRq3N9wjpH+nh0msavsIHX6uy5zcCueUMBA7zwbCL3K9kudpadcbzSkwNKMYB8AUqPPZGXbvHTeupQQh4kkNKZI/Z3Be+HlkyAViVzTx8OtwVhECRH2271fD+pwoj6PW2mmM6aK7sDIE5GR6fxgDd/DQgLWIF2qSz+Wce2736gzSi22aWGk7Hrhe4UghJNi4aWrMxZ0kqYvSyj3c8s4iBoHz+f9yTIgLWYurspW/11d0x0sj+cdtzezYFwe4k0FoEAY3F7o5EgcNv1wX4C2ktCwwCofPHIGXH0JQqPzYIMgQhwZ2MBVrF4s1UuzcsgJEcyGJBT6BTyU9a+Q7Q272GHajLdTUi+muq0VbnOGZcECGULRDoYOY+qq/D0cMcthi+s/EM3Ep9wix7tTFRDMbFGxbIux+LbQqPU/SkyN7fiKQzp3bQftkiYZXhPYwptH+hgpvFMMdmnLVjiR1JPtFmb1Rh6MVZuYRHxNiS1UmAt4a7eLPybbO5z7fRUgUoezyhf2aTqAUU9sJ58YXW7LR/A471nFA7rndo2wS3yJhLQnX6OEhmsm5bpAnQvzsAwMNx8rYSgV4md7fQ4ZsGYATrHRMNb2YFSIeuHn1CMy+NLEKSpviOgyecIEEeu+ZSNpA739nGkubRW0OhgdF1prc3sq0RH9hz6phtZF2zk/PDLdtG4nQj7gI7OXoCGrVXcXAsHv26qDfYjDw9oaFYX372mG/8L/V+Iab9YBMMosbPUC7JAeVkXru/A0k/+QFKtpx9GtyY/Yoitkv14GfrYbnWrfgt79kfOFyhERN0yGvcBqhhXN+h1lJyycm1OQ0KgLu8n5JPR9yba41ehZPOPqJMyPkoOX9POIOv9/t+id+zOhYG6EhqnDWKsngrx5le3+pnMG7HnudLQcx4hXDai3k4VPgfK66zKJgMTHQe4QTzujOq3Ng0+lZyYN4Sr6M/j7B8niOWID74ov8BKuPgXSKssTk39xOjxCnhJOBVXvbEtpn31Fw8NpdRBmYDhZRntr2lyJGSZNkWp+Oh1tvGWe+BkG4awIjAgFgpBakjo6AJr+G3ZvsjqMFbYxNXxC7eGv/8weSLjsNnGUQ/VgOW704g6FS3RgC2MgQhORvEaN5P0yg15oTavvF0Qpirxs/5V0i4fe/mrf+2ulZGPGZEKKtnNtLSicZpjJCzF/7xkBf+Uv/OQnWyNjHg69RzY6+D4CbtVzYH5rlzrEK2YDK1Jr353NYA7JiMll+Wack85r5d2GIWmoT0QTuIFhOisEW1yTNRptsBQmLqnt52YldHy0UsxSYHBjPKV+XqpExz//7WRz2bV0GCEBas7ZsPWBACMBlyUpGg91XWw/uGhBGDoGYfnlR0C/izC0CL7Y+2G4gVNuxWtRYmP2fN4o8C9PbdkfIIBILZs3mVxnfSWxwMsk59Ed5qFTfjTqVoS0vVb0yB59YqbI9Pc525OzbVqAPfyB3BKX/9UihoBmgOTYvORu1Lp0/Tn27jYonj0fzWn5iA9+TgC9qDxAgu1P1u6XgcA2zrgu4DgDJAoKvTe25t6CcPTkyhNwWbVhI1IAAfozkDtixu3S5tScp326PgqsjFgeHNm6NUQJTw15EJ8lEkBKVDReSwTKORInWxsr76S7S5PSbo8zKedV5IRJZV+5hDBNRDS8VgqSw1G9LV3BqPjFqb28zZbNRm7FBjz52ocR8WLcAjL3XOdOJ0PYiryL52MRgO/x263rNHpOEsx+fnxfh+0G5RGykXjQXBxJ9g0/jjRGcyvjqqHKjBYEm3TmRIc8j7V90wtxZkd7fenqvRVe8f4slqKnYobpMxjaK7JEFrmSO+onzIs5HES7IqaNsoohGUFf42jvWotMaiB4KEigjrg6FqCPxQ5tS+8guHsnPrc3VxCQefmjEvlbI1mMFiEUj7ce61xb2wGNC4vzLz0dfh1rgGEIV+8CY5Tm4l/B0zbTRk8MMrL1w7tyHMrpKGmXTlxpKX+2H9mlMsLHiiMNDCHJK5qjp0W7kkGQd0tO5bj/qdGaBoTyLa72nfbL+SJdZ915TjVgbQhC9OQl3LAZISIh8mt6oeb1OpgDX3A9DN+bMJ26eaVyNZJ7Qe4wqOfPKjtNB5QhVtKC2ym1+4cSkMWAQM+Adiu9hGOLrcDOCxFjf9LN/e2eD/E8cNtE8unMWBfl6DqO5SlYrpWPGJPX1a4MViBYYA4rw6O1RF4bgtMGSQ/kK4digspnbL7CXKmuaBPS/qQwsgqBLvi6/Hu297dOIv2JQNBNppQrS2RKzK8fF734XcJoLSQ0uKKaVVL3C+n3Se/l7sb+9ky/r4E5oIYasRVnJmPCyJUkeOdH72fRvMnEZ5RUypLI8+modOJBB9U43jnexaTRdT/7NxEDloKzWcLVEjAA7yzKhnsYJ5f1igs2CIhDSYmgEt3Gsn1Q2NiyMZBmkxGAOtiuB+0HDa7NLAbeQfq3DW9FeM6SbJC9Tq2WNn5TBrG7Cl7vJUCAzSuXEAKOkbJf+wYY9zsDh8gQ+qVvw4SyL8LNfOndv+fdLlE9Blepywx07IYU+O4bEuW09eoTTGNbkek/4ycnZ7WtC9yBHDVwNGJtoiJ3XlZ80XxdPS/iXCeLwYdn1EqpF4OP2j641tl/WXo52IxUI3XhNB+5pFzkDGhfvhLgXajtAt3VOJkiY00smMVRwkePZA1RSb70LkpQrLg6VV552+QkHtss+t84gBk+MHUR9H0oU3F4MitHY083qAwdf84MTVAWRDeukFZU6dGoDEdj9Lwoby/vOH52gazA5Yi6bz/FjrVPG0imNTTjTdcDhMpAokwPTDL1uDgK25WSKkxjLhHXGkgN35WmwMTOKyy/FKrL9WxJSgtizK2OZ9GxgfIW+cUvL1sJjdXqUfXaLuFUtk6mHOFBWqw3+lhF25jhPQKnb/Q2RLuK4m1icnlX0vzkXePu5SZeGkd1Ibaz1KxeAI5zm5EM3QHW37fqysLOtaLKSo1QLVY6vhOLVgfSwquvGiFpzdQbWr61sH0hXZ5l9sJ0mKCNxfIE3t9PvoibUa6WfrGqBLqp0bJLt73UftnEQRZNnybf15nhYtjtg8Sk6yKEZs6lB5R0/ObJDPM8W6BSEhIAF3kiufeG48tAQx0mXhCxwhqzlpJQtqCtG1t6BXSmR2xIGxLXrNEM8tMlwfqU+k2i3G/UrZqX4A0Kj3eiCzBDM5GhLH7vwgyqJnz+qpLxilFrJA6smXF5e5HcBZ5odMMRr3tz1tLcZoRkrEcQrgIbcdvVg1ZS9FxVJUwTKM7JrB0ZdxHwh5wFjQWEJzczwhgvfe2ktzGKt4buhPPR4CIIJOJOEBbPjdhq9Of6pxZ6udZ5RGBwNXCKxnZEzuxn2ZgDBLlMYwB5nl+/tdm0UZ26WJSJIx5gXxzdyrPBVbpJb5RY9WeUriFznNH8q1QKBngNXrHBJRHE0q2rueNyQB8RC1+SOcBVWNn0jXTa6QNZnsSw01ehYZIKgTsZBPQgpTWlSeDMF29UWc3IyHVIG0KsZLPoJwBey6Ru2t3ffvgRO2Z2Jfh+JgKcSHJd0xAQ1u2Xo7m6jfQaJhTyrDXFzNUBu8VCvH2MFho5QqMkkDqmRG1DvIax+tAwMWOSxu7T4hMCb4iYfcK89QLe8wazZqdzjY199nvwktCiuvd12K0TmxIozBW7RvYp3/QdL0ji1YMQJEtTEbWKjWduqTeGGBGG2XKhvXwoMdjjOhuwqiAdGuWqRI9JofySsfs7Ij+1vuHXsGr71dAwQShZ6dO4pI0sCEHbKinm7UXRVl8qtq1rvc09ifY6x7Rdk+qGeu72qsmhk0nDod7il4T/JfIytvf0yYYKGjpZ/G2ZZ6vf8y+w09FO/UjBQWJttlQuALx6HQ5FxKmPJlfy3wK1Q6sjpflLajKRCoP7cn243DZRPmAmRPN+FgxXupFrNggefSEFSzI7WaDu+zGleFZwaRDWAHia6h6Ufl+qCqgiq3OKdrNZZxdi24G+vG4NUUq7xMr8A7FSnTuyzMDIf/zxR5gLV62sxZZMoWnafT0BmMPKqS0kicQbrjbsetq+09ZmDgRmF7Ef34qRaCstkPPVS5vtoF4M1/SrtFhTBRdMHVeinKt+AsjKv1TLK5TB6DRJ0UiJCpt7urpWYbA9PVQXIaUBqKSbc1LwUwOlVbt23UjIhJbfSwkDy6wUj1fBaM62deyrO02YOshLjBkLyky3/K/iRktmLcbJ5DMnfYI1lqFYB9IIVwlQP9PRsPAwHtVHy0o9KthJddvb3nEcWisJGXI7visE7eulksfHThrPxdDRM9jX2uNprQQLMcGC3T44xENvCRXguv0OfaWJRMrNkMC+cAnwjbSX1SOdYGfbW9OTQjrYLBB6i6uC+sKmJ7FU74QR/ezJ1GWi74UNDTuhaPiWKVtonwwXT34/eXAsBT/AGzwRYb+EJvgz3MDnozyvojgf9RYvBCMs38mIJO3MzTjVDdgxUbJIliWP7JIxMJq+NkP0uFcVklIfMzg+4/5j68T1hjIOl2vQdYLuBzIJXPlbH7jJqn4k8cYyTLUArItWeO0Nc11wpuHfUfh+m6fJKE3fPAMuyDmeuuwnPZTv5O/PIRSFqXORNzQ11T0QjF0hSmZ7kgCD88RQXXZy5p1i2Xeu3EdNcdxcRjU4fJB9f7dWAqQ1gigKd+60vjEiOwNLx3ta7MfAuBhdBSNguF46wVOysXCZEzWWrMXzg8d6ar6KaDOyc5CVcvo/4ghUfZIv2sUSH/zrBIWp8GHvg/vWbRNnYGRFwVvItcYxGX/U/C7Y+1oBUsJTBVD9JUHOqpVww6Wu40LyXeH/yMSbx0VrlLQL5tRiuD+l9P0Zad70uuT5zg11Az0HclCUSQHInX0h3RB8Qb1+URvom2IxIhCsdtFXe9EYLrpRsBrpscGoqVbraFd28kfxkQgxMQzvInf6cFC9nuJnJ9IWf2/MRUQws4iaTrhc9KFo3y1KSHOOvlVAdkzJdML2y07N2J9GX1/qUiNNs+epc/6/7yzhiVy9bzL1Zb0KKfiGhoZoRy4gOYbXuzZLKD5Knu40loAgXDcFtSS/M/pQHIKWo5CZriRXZBRg7PHlbu8Ucqk2HABzWWdaHMrJbxDRD2zwFA1IuWZIA/O3sGNvjaH8/WKqZQ58OHP84z7rqnJvvve9M2nubuLOdql/ZgJvX0g9q91uo+WxfhI2agdxC59GrqYuKJmRTJ9lMKXh0wHgFHgzdpdiF6+ilx67geHnMJgxWB7u/QiC6myVHj4jxwP2V9x0LCoL80JAmfELypI0foW3iZbB5xe+sjnOwDp08fgUxWQ+mqxmMdNB20LNnoYSZkL6VHevhebTGWYznDZY/ghi+4MPF1PdcRfeaCsxDvtdzDiaPenbcN9137d/8elQDl/GnKyb2nEhitJ8obsY6kDQQcOZHaa/c6QJiSeQaBo5DjltT8QbxXm5lCOxlf6Nw8+sp3U+nOoaEqzvju8fSREWZdkkWmX9uJ7stNJMG5yqGZMaHyw14UUtiPlMk72MP6FHqLYkDumQJd4+TNE8Yq9j/BEuG4zMI5aNXR4aykLIi4CV0R7zbA1CdIGe/WicsI6WN8Y9OWFseN8yGLZJxK+YckZ9b3rUaLtshMQzZMvTqSJzO1bmqLsLqK65JKIKsRZZ98GWqnfME0DIQkFPPDAmzqP/lepvhNnSBuykQWC/Ce2q+GkF3/me4iSasVkfutcwvmpUHqJSBRoRotXHjKwMT/xKDj0ZjExjtQeW6XO7lyGjJHRAYG0kBzkow81MfS+8cbmMjIQ0DTIefozSFTibiNLnhyZpT4XZqnp7etJh7iI6soWcf3TA34hPk6zFepIdm11lYxGW7DQKeVDVcy+3LgAubD+Vkg1vUqwMvZR7Fda4nT5kZUuKX64JTStkSCucaDqU0LlQmsAx4vzM9SLDP5Em2bqheWIGhf3BSJ5OHC9uGVfd25twjHeTcneVBn2v9vBgsKgGfLw9b/9jsE0wjys6s/Jp69TPLsVmVx450t22ykvPARI27itjt+hRVVwnT2ybuki3qTF5iLxOZmUao//uux3IfqhUVC2OiASsrY2GT3bcylgRewmit7HgL7juPLZuRUwPlQD1HdSOZHnfRC2oFaQaMg5Rkjv+yBqARBzbD+IvlG7o5uet5qCC0k7DqUGVmij6MU1xKKGpxKlrY/BMybTI7dhOBYVuEOZS+6DdASE6qcVKqEGvD/yJKId43dlaT1g4M80HcpobMLhzgFeFrjROITqkrwEZ9m+8+0xtzcUJrn+eafbxxYRkrtWGwer5yit0k9S5btZjS+CDeyT2Brxq7F+D/fFxhuRzyw1E0VpTiAxg5ga3pOwgCPoJDAKMso4B58j3QVP//I7JMOLm+7SVFm/pjU1gfQej8BxvYIz2JxBdtR7EP5M7mZgCvN0PWQ17QPtKARp4tr4mcHpzE2cUgasj0keBRbJ/wjMclFfTgnmz0spbz4Ex13E7YfEQiA6cLj4/UFV34uKrHKm0UT3AdX+DJeOvuQfg1U4NFSRnGSJL9pwCviHSrZCFdRSi6974/1lqq5p1WhAzgV+HvGINBpKdujXn7VQdmrwIrLhoiVTX+nNxprS8mQ41TY2ubQYA7qoY0xBASA0RuDSsEXopXBz9iFecQhhv7LzKbYMuKZdfKY1nmVKMNjCumBCbnfVGlom1WEuLxZhJxsufK3hGvsHJcDiZgNowpax8XRRu4PrexvXCzZdPci4iWpsnINazVplCsMpsLnROgYjAVqzgrN73OXVr8gIcWKFe0/K1orD/6qwATpKCgMGjuY1ReyIzbMAKWS8iWK7BueM9qNMViwkRaK/aOsne8jLXcDnxtYjVCS4/HHxQDS6YD6Z5yBBsdZOEklAMNzeczeKJNkJJBJ2n/35HFNXXzhpi29DhGrNvb5PDFbTMtepmFdbEffRvyWLMmiFVsKWfVPFERBhGTxNGH/xHOIycqkZyE288AFryZHjkNq1XcmFJZ2jKNHqTzqKPpFFIGFOJlcRxU4mQ5tzpL8UdrfQlcYj+tuz+dhjIll/knvU1GU62/kHIrJ56QhpSu+rK1jrYu89CnnSwLjvzUV1//NoFidBlq6VVO7VQgB3vdPXDfR08Yj/Q1bkBZECgaJXTJfxr6NuG29xnzzfk8+PMPeEzz0ZTPvLnv4WCVTbB37pWwigDuIAoRfASTz5/Vuss8r5gWgmWx32J7gHAyw1Sp0YCiJmYR/2l1lw73wpfT/YLil5WeXEbqb+L3K86CbJYbuFPKjL8ox+368tVV8VD1PMCKGP1z7euY2fxHZykG8iE3ffY+uiPk27OFc3MBnDQtcwq/O3z5GVDIY/GWRKZR1wiq2eK8zshgyOXEQ4S7i8bChkPnOD5/MLXxPivJUXb+8KurZLmBjOm22H8gYsG0aLEWBqT7ijSbxT1V3zLDlsBYgs38itim5axoz+m0a8B77ADbIYWqF659Uic/FJ/m8OAHMSYh3gpYhcy+OoMebgIinDOC7sGWQju+TPTQnBPnDnjFH5EcbGkKfxntpyRZCx7oZU28dtL31z6qcpHK66Gv6facIPnbRwBG75urxKlM+ovYXUFfiov0+G0nCvUlFGwkRhYgX+C8i18nBKqpUoB6qphjxH5/SgteQTRwPC+0j3jEdy78dKVS3LEiGgWRn+rpv7bxib78PpqTlls/tUpLWJ7Y5ubVLvvywnq+5wwQebzxlgJEDREmCaePnnuoqgOoOgmB/GcXkvwR+r8sjrkpv4fRyBecODI23ozo3KiX90bIAu8yLUibrFWI/GUwu8l5RlrEXVV7gJQZ2IHGgbB6g19zk3k4a6TorWoMYCS6n9Ew/ynbVM1X+Ro4jMeARSUDFnE3A3gZxRO3bnPAdAOu9Y8F8ej1OljhavqL7lviUotV0l1PzFybUfIOz68PntCa5WEG4vHpGc6YaRTxajzVfz3ETvQvw5g+rowrLtIjKqWE+dji6HSvcLL8oNi2YKCT1YVvzFQBHrrrhM0CeUBSZN3LAvwK72i0tZ37dSQAnSzIyEqpg0nf5g3XRhE70SYT1ucLyAe3woZ7MgI7jEQ66NgwdG4QShSMIxWg0MSOnGlZlSQkc51kRhvF1BKlLeEf92NLq0b33SFgvLkG2N29Hjs8rs4Z233DZPhKJ97zI6FNK4nXRyEgncHWHYdsE5rBKSvJXiOqQXd6JykzYF4+dTFVDrDCMfKiy67/LVkUhl+etoGJS+N0JfwFdwa6vSaqjACagkrOEXY5jT/+2LWm/di90kOACTbmbuI2l1dJv8uebtR3yfIGyCfe6G04yDtXKHQFUAPIzbyiEm1LCUkvFcgh4h6bJ1a+a/zvgA/3EFM92JOVC39COE+VdNdWLBX1Z99ttgvxpCtVZUXcsvG0lvZa8aIexlhHYiuSXVeVsnjY9xByItFJ/DI/hqLo0zV3yuZExNcB4tVQqGhB2svL2SYceLq3OxXwpX/t3TfwtIwiYVc5nH24oX0Jori2xp2pzFaZz5+n3tPY/eYzw73Y3q3/iGAhRQ/7/IyDgs7YTfrORwR9U+U6BKL5/s+L+5xLXkq2e+02DQ5/p5egxd5ztqwoPmD7wATCay9N7HRRTsm9z0RQ8E/XuFZea/MXX9FZ043MA8BKK2CpjjhrFmgnxqYJnUyfsymqeft6rzdXVMCe6BCqmjJH9gmhVJENCLtn0+LmcW63VjGcJbQseORhCoQ/ALWAdoexbVAAS9v29YJtgKT0iBuIKVE3642wXwgLrJHm1qT7J1v0VLp7FV1ke3zJqiLmfJ/a1KMzeDiEIVr9yttG4jtaZkjxL2XE9PIkWNVMW24vmSTpigJqt5AF9jc4cjfAApr9z/CX6HL20qOM18IYc4oeOWcMVy3347dpgS6tiDjuoVFYE6yHOR5+E8gCR4fP3JTueeZqsTfEdi65QHtrz+VHdTnWTIE+ZoRii8j8Va4Fd9rMp699U4THYiHaGg3tGq+efdve8ikdl60wRKSXVOEsyAONS5p2yU3iQqfMxtUnqH67HVM4AlMA/715xDQCDFWnuNSLcL4YjXz7CwHKAkqzzj3UsQ9qe/3JfAtIKP94X1MFtesPecKAKfGcTnqePuFQYKRdlw7JPj/lETZtSwQbISFGXywDFNAVKTgLYAOIxbyPlQ3cL8mhCoJxwAJb6TOLLbF0p/O6SDaKzV7avIcZjXhlnnapDkHqSLnruyxXMSWdNkirsNJxM2ANBPdQ6OtWCBOxEAomTccvCeydINBdWn8MM9eX25IdU+GueLEKb/va7TIyuX7yedlXQpZa5dwILssGRA+rwFOWps403lC77yuWHy7ytq9aeg6ecXWknlqVF+OHy7BGe/EFqzTIDDZwefYZ1SJ5wbBv23KE2bndSKB+2BhgCxTcLzYHhGolhw4dhvkNRDVEOyjmxQy+L+fg3hck/7lLRalfy+kzJW8CxjXuOhoJlQI/cBfPkpeV7CIl94wVBWEjkIIyHf1nuWPkhPizflcbokufQSAOHrr30Ep9fjkYzLHgoXMqXPOxQwMEPJboMiPfbQ7qphKKejxmfQotEIVm5wZxm17LX+yVn6mRTwtA1TF6KldOvmhUHbOBcboWP3AT7aEspclZ4Wys1T522M+jNxoYDiK0pELd4101CpdWaK92chAUdyJPQB/nyR7F4+5bPHMRngPnOrRBA9PrFRJBwlNt2yOqi25UnFeDBsAxliLxahAyGNEBjKhcC+hwv09hdAF8sRDzqNQtUBmqLu+Vuhz7zwhd1i0h5cXRXC/Hz4Te3LOUKqcOa6xdZ798pDJ0xuQetG4u8pcuE2FiBxCyexObsyxhwlssro6CU5jr7WW1jjzGsU6ps1zQ84DxPy/2V9bWhrjz7yYKPIQSlHkDAniiDXUVPI6x7jbcgHN0grOOn34fAcn5/g4jRRKxLDwczegGUKMihusS5AnAKHWOgxdDsUxECQkuwZsQaQ0nHwIOlAoQio58q8c/VRsDM6gAMcoHPc3dX6fcdWgUsOz//CY/rpItIMijqRyqLYDziHUUTcaBu40t8MsbhSI/FL22guDB2BuuWccMlMoHLodnL1rATjX4vDGCA3keJAFZMKXUVDT1gmXG23fe8VNxWLjTzfPMJP4JLjyrJmYvB4617vOrjy2wOMOj49Dr5O3bMihlzwJGS79wSD+OI8BCyDMdx111zqa4hnBiL+kVBzt54RHDjCJe9DLlFiIk1nrK+V/XKyxgm7MdyIgGcgQTAgzwAy/QAq5xLKg+gXF1bq4fAbj62nQpjQM+9ZcupdD0zvQPjfyuXZ1jFRobqiGB412gI8ENAdETJ2MrZnBchgjs7EVnEnk9ORvDjWJIBGh9hZllp8BaPn0AQ2CvhbBkxAV2ZIKMBDUxD2zUnJQBQ/dZiAZLRG+5DPXxxTtaYDy/8su1564A7WRfzYHtDaYE8Y21GuBJ0IheQOWJY96C/Nn63kuuQN+PXqGh/Hv/RYv29pwfxnTO4DNn9VQAk4MhFvG0rwLJ4VINDh6nMpBlm64XEzYcjNq1SacqjLey117810EK3BhYZIj2Hg+K6K0WAUW7lqqW3iuswBWqDJo935JnUOi3eqjY62xKwLeMCBXnPvHnTKFLC5gyZXgneJsFXj5e0V0V5SUD+3rAyCuLt29AQC5+9iInB00Tpfx6rpLtHEBQSV8y48JOg5Qobun35vL3O3n2miOgizU38puFnWTC0UclmuSVQrJh+S90oHmbT01rWc0XewhNzrIsRa834U79Z4w3nwa5d2g/b4iEXyqlkHWCDS0/3PSFrY0YjTvAVbGZuVbJPFkoKE3UqxFk7AYWTturXCT22uz9naT0luXx/cSl2SR7lzpb7HlrtWSXrxmhqU/UUoS6EcmXUYTWeFtsWBRBTJgzU2d37ayPsB4SvLqcyYUud25L5kG+pZeYqCgVwEMT/OqsyRDpWbWOXu0No0E28I19eQGUVsojI3Ir8Y85SI2e1y197l5fLc6skZm+eSkmnpo/S+MHuJ0STpQscoO+ZYD3LLjGGPd2Y4GM9d6rJs3j1rLasoDV5j/HruKsnzqbHRnpAV61o4g+PX/TL06ECKJ8BjyxCLKnJKZiBzJlqbEHgZLBnYusvhrshbvefDlo2Su6LeMr58piKQMCLqmDaRzCj1uETcxVjf77SEaGncqUZViS1sOMVGf93okUnrMa0v9cNIcDwK9+qjKlOx5nLZgLSGFOue0OXcQyu/0ZSLKhzbBcrO2mdQMer5NvOmZzHDN6P/9KiEuDC42G+ueksUr1yeHB1aIKzJ7d9dHczu6hS+KG4Od2MimQf/cWfAdxYZIQKzZBC1SoxYYOtqznrHwewJP4LCn9BsHLG8RqRlXRKIObVPnb3oB2sXUR0MFL2oyzSmGSIOEI8pGkZc/JTRxaQJQ4iPZgVd3C5eA6bYlU3aQcuT4bMMhowsjwMdeZ1UCSBsJqjxSTD8/oi9t6oC4+pdb6cKGMCzscHAGB0If+P/4Sy/A95BX+6as2+Hf6tdOLhi1tyHrnLRKzh9qT/Y/LF/gb8HVperxvoh+z/tXkA3SlL8/c9kuTJepKsT615MnFrOR4zJCHnDeBkvitAQ0yHEJVhrBoxl1dISmyYu4q4rw1GcePBOsjukgHCvh961hLeipHUklZelzaMqSWclnDava8QU+9uCHtz9ny7QJShksz0ESGmxBSxDDae1Vt4xHypG5MqM9qpJPxPl5x2eB10dq8yN2oVoHVtA8okcanttQbIxBBBzX5IrHcVlthYq5J10un3ccyOsJ6F+RDjj+MPm/2cmZ/XA5wRGkDkbP3aWoXc9kZWh/cP0nTnTBscwdO5HbOGGMeDg8KDPUDZbXmu2WNGBZbc35ka918gw34bfoxey7ohyTT7KmAIshpHnZ87LOs3+TxEGBGtjiPZeWYl+JSQYU6UdESquOjdIVNMRZeT0iGoZkdYtfF2BtXNOnEl2C/iIg4kf4dxyMBehZBBZzsLstqCD02dgqJRkycOYDv8Z8smw/1vULVZsI8c74T4M7Wumi5YE0leVD7TsZ/AD6S1J2kq3tw25rpLr3f3Rg6vEM+3mKZkDwE2JvZYz7Ud+y1eqHdONLcSI5ScnzipJJSXijReGdRUwOEWyV4Oiqp5NoLVRH0b8/GdlNo92J/by+QBKaQJTwzpWLbN8UFxGNrVmqgkr4TR7CGFuB9+Pj3Yi9cURu2h0NxRq8oZvo/Wy2gWEbHqLyYjX8x90Lre0zvLBf5RxqQH5einL9Xgx6/rdorTLew1En2+B/xjWZ+w/NVAKNR+jnkEJocMty6+a5r6mxQ33J1yeGqJycY6KreFSH7cHORKrrt9KdlassKLpnm10CQEFZYRO8/Szht2mWv2XwEQSNeYTetGwt6euM+j1reyeCvOPKNoFVkz6bTdMcQaIrZxdLrersdUoeOYo4FcY2FRdv5pm4x4WHE/HANbZAbAW2Hwq277a4YQgyqx98UBlJSr2+bOB6WG85wAenmqxiRygBy6k0sYodtQAWGKrcPG2kFgVJJX7jxQe2XMt8ohbxWqeawUxFDvrvxcKQbxNtUfSBbGiKStDloMcJPxhA2RMD10reBbs2I/8PAJiG6KxDUa5jJdDetb2KwRf9Ur90u4vyyq5O+lKw7jttX+UcVdamTq/plKZiPzYLK8K+h311RHBgXW4RcnvrQWiNyiVEa3zQHl5bR7BhxOZc4AdZEzh9Zx0StrSVIA43p/e8LgNs/cIYIxiFhIGZbZUXS/0kbNviaVdSEthwuR/IuFH3YSjpSbeiSrfJ0y5iYEDb2NBWxCuL+74/83YewcbCGzyrzUC7hMmKj3r43B76o5XT6JBcRPy8phEuCQeJb5wxO9aNjmNqf05b0l4e0rHHnepKbtqdjBfQ9wZItXq2PVqONDSoRkPmDN1gFk5dMzuq+kf9/T+4S7F4SHvfHs+oQXaTbCqdHW8KoP1ezFG1fC40FitbCZQ3Fm1uqdir7tv7vky9JRLEnVMWe3563xQID12psTiImdoK9bDiqimr6/0VFmoKY4roIVM4JbTztsnvad4yBAeHKDTG61k/UJhY6Ki+9BGsRnx0xfRxfyV57rZV9E3Grd49896t2HSfsQc3/dtEVKhR12hUmE0LAkABuEesoYIa9y/3VkLld8Ao5NylYSaCdijCqNZwjfu+BBs9x/Rm/X3MmXwtAaB4YTyynE4+V3oWl4YrSTGdghd9Qofgpmw4A35HS0hHZNEYfsn5hRcapcB8c+t+CqK7k/vc6Z3vmPP86bD/vHuXdWOAo9aAxBBLogmMBMvnERoHeuV27ryWxTijKdjZ0/HUr5lHUQY3Fiump/9bLedvCdN8TwH1T47P+WRiO7dlfN2arhthLYcTN/oVFiZTnNlIBLJvsOXxLrUqLo4UvhQpBTj+UXbsqVkV4KvMKegXSi4+VhuTbP1qXle6XpRHvAw2cxz4+jt41tERCI0GGDJN77XuiMD8Pnqu9DZMOwaAY/Mw5SpZnsfyhjsd93OAMzZm90Xdoadjp+4zWiuaJGNqo6h4V5K0kO3rZgDEPrn1VIXtJnodtVcxu6ra9wkoeG5tXNnOQm3UFPsZwceRDbKg6bfZ5RoeY3k1A27hfU92WkNp4pFjADqTVbOL8poMC6EQaByoTIYtld7CeOTeltG5JrQyZkK78Nq7ro2I//h8YBkILQEibhYxzLZPkXslCxqYOch7mc8NB28SHZ2M7xh748mjf8g4/qcIBNZuMFqYuAzvs9Zks2u/uwR5LD2QshFFSOWeTUrf6vK9KrWLu5EmK8wkphMtg9ehkPGO3b5DUUdbms7JtoK0W2itaZtAwYrNGtyGDzSd5y8dtW0cnkM8DcalsJSG6p4s/hAMwhh4vKOY4d5EcN97wyE3Rtv9uCxPAUgEPUeQLEImftpejXvMdmM/d+TA61EhB99jG2fZoS/eCNAd0kGO8JGoBGC1Bhjz0sI8D8AgQ7qzsPQfqvkzRiwpFhAVZc1CPP+S+xy1abE7MqA/SIrMAI2JdYaa2dayYX13yJU/LlfJnk8D3GXPRTynu282IIhpYS5podIQ6BlWbw6vsDwIGUUP+Vs08oozoewf2YFIX8l8/4DyuaMz4a/sXUWO2S6vXfTWoh6LwS2ynFRTTpilhi1MKAojfWw1dSI6ETpRV/Cf7hTLw4i89rEjeGY0tallREzypk5AUjk95zytdi4fZ3m8ESeKRegqiw7Q1G5YRDIT9+xiF+Sna6eQjjbuVNk941R25lSE50NzNQ1Bs/YcY3yXgF9L4yusEUEfml155pUuyU0VyG6cpS1/i6BAtWut5Y1GEOPFOZzoBsJYtrdQ+GAbp0adSNKd8wSbfUBT9gLYiWQL6jUTRyKZyrP8dZLukM6RQCHJ85PjRyh51c2VBOOV11fVeMFw29k9VlGIwruINoWYLIlnE2E2984+8gSwA1edhwOjKF1/LjhfBF/xsLJPtPt0j5xKBOZesy37K7XAlBMWXArPM9L4oMdB+srcEAeNCjOP+a6I43mts2NDRQQC+z5yCisxiTnpN8AT75miqaaFxI1wk2iJLSUljF5/nQ5jRzSTmc11tlyW4F30mN7GkUBlwuP4fP0tXrA4Uj5SUowlpK/bFmcEpNR1HylwN7wo6f6jSgWKRIUFyy5hnlbvyU6VIJMAlGJMeeS1mRDte7Kdd1CUq0SzBAAo/UTW6Th3+sK4azMKGYks0xH6cGbEpBN8NkTMwoAKGKkq0aQaRCD84ugwcLFCUM3Q60F1UxxA7hC6YYfiXJ8dTnCcaNHsnaTsW6MZwldI/ndF/OMmuQTvVFyuylcwAQ29bZ2NrPSgBTLuurSCO5+fB0rdzxqFjAsUrdLIhunxFNNK2f0cHlSEmjGQ1nt6Kxm6FVEewHWOMhQBrao+MA3Nky0KEJXH/w7aidvwuB/vUIAdlmnR452N7F3m0KzPwxiNewQr5Bfh9Y4Py/7HEAV4cUeKh+njtlp6PdiYYr6TS6ta6tOQLXXD5fk96wCxSdo3lPCmb/d+lTNKnjvTTQG+6eKFksHx4NDwkPazONbqm5nFmlupDwoWlboIwIBFBJwrwUOpTnw5hCDO0/88Q+Mc89uf/n8rt+8UPOTV2A9WnVoT4KoMwpb22hX9k+QxFnncUdir4nx7YOKklKfH0iCxSd8eKaPdcixlFh3f6GAJrB1CZwCUU9UmnStM6obIMG2XYSinWrN9JRK6z7AprAX2o9GIwSsvd8vCJDeu1gTL61iseI5f7toqq4oD28mpq7vTB2VXTLClc2Tl3mvMa7LKW+97/1ZmFAUJaexHZNGZx8zaGWdxvxCizzaSJGI/cQZF+a2x/TtNRZEXy2LnRBBrD5ZUxBYqNSoODdlMspq6eR/nfQyqfSC+mj1Rklpovg1qJOa9PfhUuPOfwAo3Ci1j0Imdm4fQ2X/AvHqvhzl90+jvGukf+T7+SJ8q56dz1soFhRPIP0vyUsDS7GPQdGx6R3NspbTF7f6ekRCq5M49KtJtQhTxjSMABiZsCS3YL2kFeFZR7vZD+WmwIsmfMJTnaw18GmpqWjBVXn6001Dkfk68MVoMxxvcIIMT295ye0vXZaLNniDYCBowzHAin8mtxuyl2oVanFjuNCrqZrEZhbFlWf9kTkCvuNTcgXTG5I7Zj06U7AVsORJMVudxpbcQTBxyLP3wFC9tBgWaPeZ2ziMlQQKmqcJ61Lwyee1qXQtWHspNUn9pOb2WtuBkWYh53xIsGwF/+M+VcwQPdAIrDvtTn0yn0LTbxatC7PWyeg1BGLFTqO0ZqmdOaj7CDU+NlNsfu9UwxJMjgT9TXHlUqju7mSe9eztunk87wkWwqcZgJnwbAD3Euqvn+kj1+Rs8Fx/Sd+EeX3VWeWOMycdiIJT1nwSw7FYnQXW9RtyrfiUs99KJBM+5ltT3q/jdgtw4PjvP4k21es1NHd3Hn5ZkNzqGwVj7DrXq1wGsDqa3b/Rgx342o0lkGEMfVHwdYcN6+KRTnYSGgGLMF44ECwQpTWLxSo1BI0LUxf5trKQqtWushIre5kfSUUcmqtXiCll3eexqlgcCEHr2CffBjtWTBHNBdTvCM49dzvBgXycWmEY/TouQ12yMPOZJmxmF5Q8wmTsKZVWAFae+e6eYgZ2BItxxplZpHovICMpso69CEwvnK3/2ka0OB8H4mAIy5YsTTrDL14vtHxcb6ztJZAxrW2ClICHDB/F2+7JixEu1EjruLLSqpBVOcoYZsoJ/TdtjiJ8VUCEG1QPAv637DbgTONzZMWr4r9slTVFzz4jsmkKjtJ+3VhQ/I2vydO6Qtwwbl1uyGzd8qL9vQNDM6uDcPgSwTxAjA7+GmMWl45Bp36n84d6pm0GOEXQma1I3EcsFhTeEGuEBDSXXyFgtd/NsnX1P8NA/UgRi7/x1BRIl3xr1k26/XCoiKQoAzcXhICM8wj9b74gFcigKI3zii9zJnBZVLRDXmWdAbNPznsiDj/5KyVteXlBshI72C/GuWzPm1t5fDzpaXI8vBzY7zPY0Qb4e5f5RCveZml4R2lHsUvkDBB7IS6R9fAVoz/yxoN6f7r07VXBm9YCrJboohFFEohccvc1n6z0J1ZkuE8yKHrGE4jHkeOW/OGzitqRZ6xLDwABb5mWAofiiqUgQRMiWFK67C+KuV0F6Bsq1gKGLcjSIjha6Ku73Xbn3CDvZsbHmPGQx/UgC2Dknfl6WPhTyNSpiF3xci+zbD9Qipar5RI73YAi72BvoiiUI1It63WsOTS4KwXjcdd/4K6czDCbRfLY6rngIaYFNMv25jg93eGaw/ChHNFojom0QqZ7ujAq6K1ydWBw+cY/FBtEbr1DQgJe+IZzPSZtSBmPpQAlUBndgBG87OYuhfxQLTvo6WVP3EAhJc/ZZjnXgCchkjethDutSPasq1JWsmPL8uTLULjAfohvjj8di4or8f/OFWpn22zSMZLK3Ld1B3+tC5r2GHXKmlzlDDFQVS5kNkwiVm8i42C/6YPfDArOmZVSbe8YQ80lpo+bel1fNmGMnhAmlIJKlbxa9iv1fq3R8umDNDph6R028mv8qJ1iTM863cCax+OleU3mJrBOA7O0j42eEPbAk71iJVYuw3JQCqJmC7WnJysX8X+2DYectnmLciK7NQqfCLshSHQCu4QHLqy+95IeocjqpS0U0xYt4Qdr/7w/nfDQnA7T0Rz3MvgYj3xk4RKiIuT3Cy1Ti4POTrK5BySSJemP8AOF1JbsU9MBT3xjV6UTnx8GfIjkvmiYl1dSBbbJzC7nWG+rAW9XQv4I7kRJODfJiie9ikGLwsG17M1MtNJwtrEDh755LK9+hD0s4wk4CsaK0dyqeZi3EmJ416R4DS1I9zSWRPCP00dbZK67Y/Dq0A4MQLKEM/gXIbISXF3yzrpuQ62xlcbyF6rSBJ/7Ry+soYJtu3Wds3XNwQcIlnGcoGWhdRJp3/nahWmHxFXrbY8sOOD81Jz1wGlLrORzKk8OybO/tHVlWcjkKAMfo/8jrJ+T1SN44su1dBXgQSsRQXkv8xrflL5alaaYJwDevhiJXQgmntVLIb1r6wqLni2LNvspImckTuMOWknakBb8U7pHa9Rws4jkr1xW9r+dYGtpIuJtTRc3aAgf8NcX71Az2P0HwcxEvIdQvXCbydFkrMScIReE30bwwH6VfHDnM1B+OeZOl55ERTrCG7RzcOK2+K1c2GZNxm3C1SyYt2ISzn3FLO6fbLy6qAAoUel6dAMXPg2fPOHnUgIaWkjJuX94/Sjc3twrVQNreq2qmVOwMmGjLXjux+0oDBWTCBBHguTdQ1fuixU1CYQT4ZXmnk6xFHDLJnBL8he5h8x4iRZm+HJRy4TF1AbLeaok4pbQ584slUeqDadwACdqHejmZThMiDx5MS2aUj1Gho+sSzhGVq6DCQQzH12e13RYUF4YAoqgis+yAd0qawO9GIpTlEAg/e2BFbqGPEj6hCdZl+LZxJERAZwwCHki6F9QforOASNL6TMdHEjjYngdbmWfyN87ewcPNCSUiJXI8ojB45DB6SjkvdQfwZ9n0FtjYGqrcSSIYQ3N87g/Dr/dLz8qshjCrRxjVYwAwWOFWJbLGX0ysh8KRd7tWyw32i/Pu4F/FzqpOJrBU0Fi5F3V8eeJu3t8B8O3yKhaYakjnJYkXO3qzIlwzeJq5I2O5D1FVTCnwjnDJVPZUS1kOwD2aDAim9Ih9IsGBvLIfWSvDcfMJ+vY9H/lAIS32RTNz4D7dEcl4H9eCH6J39ANXw0TmeGcLIkrm264GR0qwKIwQscJMcKPFQIM5vcmUJiW9nAv0QgUhKgs8lxqjNGD+DdWxt5khcv9G4ZtO6n7gNS5vVHe8fcRYh3Fwdq24F52BoCEqaNHlZEU4MC3bcbNtk8TmfYi+lxxlkf3IvGKajizZRA09KXmFMgm2HcZ7Lx1M7G+/myfjZXMeDXSr0+fOjDbqo6m732BYaBaszeoNRAWalAIpNRUWyeRtMQJ6ZoPISUy+evI5Kds7bokIlhViqhMXiYnfTpJ0YJLB5cfHlrmoPXaLG0XkhjPxhHZX4ACD8LmXxSLQk/TFOWxaoo7Mzb2jqG14rPIDPhEhc7ImEFH5JQGPWYijMPDwOiFAICiohGhGVkt/2rTGUMKtEo48FOe7jjFdNyN66VKs7TxeKJ/Xr8tNQEy8AhOxyoo2nABhGXxnerFbQ24HRZ3g/zWbRHiJuh2KcgAGGQrz/I9yywhJbKsu8ORk0HAo4T1/mkwKgsAXAwb7mWPqgdkQAFGRTyt1God/y4EuFqmoeZgjjd2etFoEdfVXv41I1YxcBnzXhJthBW7KjROPtB9kXFmHlYZWrGBn1scVqq+YzIrTeBNuljLcOkPK3CvE8A4r8PMTwior4iEijLy2Gg0O7Y9e0rXLKIbSFWV+ScnMEFi9mkdfq3TlLkcRTN4yluUPyi9cTbF8u8vdDinH6lgKAASqus5J0LEKRuMQquQIcvYDTMxTfSfpiMLOqCRKq+iQ/yu04fsbuicIbASI5t08sYBQTUqNuAMQo6TT3tN5ZzxP2XMHe3z05s+6Dtw79CHcsjPcTR8oAqfqye1Vg78+CbSgUysvpHPHH9okBG9xjYYdG8qIaIiZUXF+lk4f1wOQ6N19BQAEMtSH9cZvSQfT+YlWrihRs/kKh9/6TxuFuHovdHvKHO5DVJtwBf9dW2ZTnVAVNqVadmIknIcsmtfkHYprm+xfEJGxtTAh3J20dqLADaErZCNyW/lxiSTk6u8lAiSG1JXQl5Q6tMHvazXeV3N9SRBHL1QHP7pi/e952NMPPa9mLG9PwbxTfv8z3EnpSP1DNN7pq/RxQS0ILCWLuYfCWWdh3VxmnUQXI7SNmIpAQQ6lCDfGOYtjATOfjj/7wUH8mUrlyAbXhtbnvj8drhSp59Fws8m+HuUPbbt3dOc/Mq0D8dY4WYwWaTM1lRfhbED+ABoTUts9xF7KsG4w0hh2DuL7bbNIinuPjVobWFwXxjrUzbslud/AzLgZQDrLAbd4Dh8Jq09KW+VFVyv6ARt/Ql8n0lJritWWA/J7i3zkETw1KrZuO16Uv07uqqh39qIh6OtOxsN/SYW0qbavIwNQjV0GLw0cmSx3G3DAuHRpGKfgbfmds2iKTrCGRneFkj51/FJ2kET+rpvWb+YzYAwkXX2DXBquUgdPqYILqP5FULp3ze4FS0Fb7tRu2128C83b+ri3YedvI1fvbeZLmCcjmveSP5rJs7yYzRLqS7554wpqm1ofgoLnR0hIKPxbhdkc1xk+/ESkL9K5Qwf7KVRP2mXStU5r1LgjzeLOH4ug/dfWczRLS2pY6et3HieKMlDbFkI2+1rkyf66zyJ/I0GExz6dIym19u/nR++gTYa7Qz6MGtn/j1DYmA22CuaLDHbd7XBihV7gWDo5eUPjQ8UAd5ESD0KzdtuHaIa7A4L8mYrdlu1g8JMIFwc6P68HWadwknqZM8wJK3IJ0I5Z6pfQE2G2LgANaaoP3zMuG5LS7GALtmyt05iOYZ0LZiYQPnxCNRKkn55tVx/2iYq60fjyWrbaIAS2BmS1SyZpe3xjY6l2W+wnDN1q7aWu7p5gRsvZEc4ZbFjk/puZiA1lO6gCjdn61ySpOcxxkiGZWX91259lvKTVOu9xsnzT/Qow7N9nfwpS6wMQlFlN8pfSedDCFX/2Vu5Y9JjcnPoIuw1nKwXKjgilaKTJRjfuibstdWXb3kANC3ZnBC6B/MR5ARFYUThqtRjgNy/FSAP5wUB7yI7uc/wDtmclRbtdsVimG9qJGYwVAFCMT3eMkFAoMKXulh4uoFqgbVS/RxMNwN9ahGJEW5sHl6eQ3gq4hDX5dfJbjwylBJR/MqmLvfGP0m0jNWgoCHCBExGoBj8hmRK0m5zQKbueLSkAC9Jh+JpN8IWNyy1OzTqRumdTPaF53za6WUDMgfDDnjEi4c6LISqiOPNQc3qb2dS9tjnP0lhYJ+c6AMjMFWO8w+ZOaHJFlSbY0xF9CgIkzNjyp90EP1aaA++HmbMZWOtsIQhJlB4pczfRb/8IBulCV0dhsZQVgTEfKYygVkLVGmGjrOjDyFXu+GXGazFQkS4sWgEEKdT942Ptyq5Gpg5DmlDlReY4FTN/0LZZnMgWWjbDxTakm8/LVZcJNt/Ph9lCSPuXPl1nJw7dvsXyG6B4z06e3QbLdWzhA0ZN9kp7onpmF5IDXrdS8jT9C9yvFeVrC67fZ5KXSI+f9xBoNhuvndIwuSR+RNxMqA3mFms7ZhQZXfg5qoz6qkycE2b5q3vPz4o804RdA4N9pl54fKouEKUUn0AR+N2f+iqMcOo/h2YkGZLXUUKwTnJU32R9M+WFNtDAkCpAffWcC7r4cSxueK4Lcdc2m/Rt8AZn96hmgpTNS1JXO+66I+D4H4N/yR4lb6YJnVn47QyrpQKHTtHXs6+FrR+t7mI9YQpZMiRfhGuYaQcUeDhCEEHNzbxRQt9/ZP/VgdEWGTktl3tfxs//ZxpY6aibvQ75maLydtU5/rAPzpNZs1KwVz9Eb/WnJGZTLFXfTESvkeRYeZ3IB7b31kIsq8fnJdjJxqWLDqUChNUJHtFLnH5P83uW08D8/tClFkJFK6clz/6X1sCaMewQ5yJnawnSNXn5/L/7moh225eEjxPtesjDtA6k22Ob836vlLmbv5DYW8SB/QTeKFekj9g4wxQ8gPd5QZrW5Qjm3uKxQStTthQqiMAcJE7yC7yy/KgKq1ybSvS9fiq5xKGSq3s8edlLJFZFiLr1csvGD/KW4vj/7RZemdjRGr6Ky62CGcBQCHHcL1hHRVNVrClGA3PwRIYZwPhQaWt3P38VpX6l3lllyUEqVX4nSQdr8dZoKBgEd9HThBawNpV/UouuyOmp0zXl9K65iSPY96ssFkPrtLeWSDw/vKFqPTn+DS4aaVJQ7apXAEwMBAAD0gPuYyfo3k/eVUIr0hh8Ay1aiQ7xPF7ruuGcAkH+Kh6RXzbVG1oC4P57cHaRwf1YqIlH66cAz1noBgoJrpjPp393iGdDqzO5sgvvGShMPH5AQWFf0pMpp/PhCZz6evYA/F9tSwCqApKpFUhXRRlUpdnkRpGgTevnecYdIO60Vwc8VQPTWQZXIXjcuitbBXeT38WJZu4REVASBmle3vof4Da3uuM2JBSt4E63vOYyO5mtz0kKIHHgV0fI1jW1EYhZjlWUqHKUq3Fk4KJzHgfU9eg1sJjylzYkdrkaZZiE3ROvTrI+2BzT41UjPFm6wtNVQEoN3wWkZULWq4BJGaT29KTPWC7heHLrHb9EbFRZ3k1SqvZbJR19nY992e/9WCegzkNFvS+aqNKGXrEQRx9nDO369fliwagD7dQaQ2iGHmCrNUnV48pXu5IcZYs0agnyH2gsZLh51Ar7akgyhW9TN6I8h3n776V96tpWopKgBiHMZsJhmmK7C4Hxli3xovlKnIOb/923K2i/xuGVYIDtZCtlz4b0QfI0KurkZxjlkH7Jt0QlsU2w28N9SVSYE7+w2ggAkhUQTJAfONOvhZ0n/4186uHAV9ym+0n+jdv8pSZjlxIp0PjUd3YjOEXM4UmupS4Q1LO5Kb3Hmrk31rGneWrE4diq3cPsusy2z6txMD/yldyr6WnEmQLWlgbLNtIjpJu15sq33R9FWwrwxtBGxrmxf2J/lSe0XBV1NItwTC0joe0J5BQjGHdDI2ZhaS5q0XPENF3JvNq23MzYoCKadDbNB66cSL690+8dRbM5+w3mmTI5B7OIstR5IfUzWeOenmNixrbTWWx6y0wt67VCdz20QXRe6gvz4KEcSHfYynHTsW+LsrZ/NZpemvNpvNsMFjSOdd1Lr39kGqfAia1e9b2tCvWQiBws41yhq3oej10VFVD3PdmtA2V7ZMwvHhkwsemTBzpssdmQVle+ER8sGJi4MsRN+5/iHjJQTJma7NH4hwTbxETI9YuIHY/qnGdsW0+BEwjbETWQ31t9xQgEEOam4b0kLPAxnyUAt8Yp/Z1A0pSv024FoQxRSF6ZpOTF3Uix3pCeamnaSNJcKfll8Ac2TEjIIuxaR4AD8OpVjcL5zA4PGP+RbZa4tX8Sl7TU2HDyRvLKQWbQPGP4FN8dw9AH0HsbUBtiPwxAqB27m/BnSxg8Q1FdMzDqZLrukfFvh2T939GtzVG0xDt07tL4yu/Cm9uP3ZklZhIegeo6UH5Ixak1rOYWGKSnGDs3t2lfBEQPr1OiIfD+NhL2G9t7/YUaQzwL44TVINKMuVV+hR5MGGFXQrB8QGUsyBpv3VLC0AVkQeJFBZEgXja3vPZ+18BQHCk/9ht7nINzPeSaulEK9a7Y7W4xnIIjhtY09d27EcIxWpF7lBVrb6Ml4nNT1xO93cQJBEvH7iYV2QuEHizWzfFQ8AYc+x2Wnh5GmgEtW2M6Q1amKaJ+7CKJh6MKECx6A1bKypDGFqiRYG1d80kSUCRMcqj9YZRGe1jxPYObqcO4nuzmArvn8qo7SHSVf4Z/wCl70SYP78dIcwGQ=="/>
  <p:tag name="MEKKOXMLTAGS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QMC/s0JocMDf9I4t4/9JMLuaU/ZiVNePvYz5wycPDb5F6msC//D83d52XgoFPneawlH9AY0Yj3DXSrnoJFGBWDtoyHiyyIh1FLglDK3tpbl4kiTYb1SG1sAwPdotmm8+qCSE7HYZxvy6C8vWRc5iRoU3v00rhdUPt0nUbRt8YOApjBjiO99ANBf1AfKYI9lmu/X4tUtTvtP3hDhG0tJKXRzLU5dErHhFEfSuQKIAHtu2ms/8n2jorON2FXC7BJHNn26rCpOHZAtVHBRqTqdbfLsMKhTmDN9zoRUDMEOYZMDUj4YBgozEhOC/YQtcVLUQWIrq+G2s09JnZVWJcrRUMEypp4wum2c3t7meUA6425z6XIImDfVqN5TDkWQmGR5VNvkTtKzmidkKVojc7VU8uOF0Uys8jD1M3GhgWD8t6wpveKysxeY8SQt0ohcmd3UAMaqbPL0J+5ODFk/3dfckWO25+HR5N6TaZAHAW4nVk5bNXwr9oDlJBXjOFTAub1VZ/01B1/mO2BWooG0Leo6t3bUuBM4M+45G9XkunRGh7FNT5YyoXFvEyLsb4kNlavdue1Dk6QaF167unFBAMBeI0xWJOAJwuB/GwFD9TjdiZB6LXIjYGQdnrFL0hWpk396sb9rrBS4tBniJ1tRTv29N/abW7vJ1UfeNz/3XiyHLJBzoWfLEgUdWgsyK0Ni2IybrBRHUc1X9Xg0xJHwMkidCRdBEgfbgnOjlUIehJBHAdbYpGaHheeI23TSR+LR5e6E6JbeGwwi6KMRDQVYPN5DkoXZ0w/YPi5Ve0jzRbQRAbxCk13e46HhdfloBosWz2SOTWE3C3DLERB+ccv5A+S6FszsUWd17vGyXv0nYGM3JJAPZcwD7NArHuKFCLdqMSEUGM8ZPmXE4gZJ0HjGZsUgPJYthQf6EAXLw5tD8wzGA4V7p08Mr/WG6zz24QO3fa3rhF7ycgF9X0YjvvYr4aSpMih3WPb9p/QeUAIfp8dm/9Ort/arpJ4lG6pgKtP7gbuX0JETnVAq6Juu4A8+18dVFStvAVzepcMt/fN+5ELhZLkbMH0zAnSG6ZdqlY75Sma88vRSpqslfnl8imey63aJ9X98fUa+JVj38Wfv7aK10FJAvL+RdqKmFSZPZQ4ob24kVdHmR5NUP+f2f0mhIfAZCRGb92FoiWx7EVrGTFOQJ1H0mFKOKeB8ozdG7rOpcDwKC91/oaQWRAdvHX+GqhtPG/5dRp0Zv6gidsb3mYZWu2Iwlrjwk+clhC/9aVrILNw4xlY9hSzvNiMj0jArFCK1BSNYGKAI7/I4C53H+09NLxOT3EloKXAbu4iAMQNP2vhW/A2m2GrkmOIYXLDTgIFAkELkXh32TD0WJNuJtVPQoZOMy9CE4wYrcgiKTQ245zp4v2t+5Ko3n9oyEyOAHUPtYDoMbmYZfGmpwZ/L85IXYECPaO0kZmgF14J9SL1ioWgkrK6KJu9wUL+Mr9TCKgQWCQVo28FtXT//ik9XFy8NYotzfYrmJMtZhTj848ILeJTZq+kugkGQ3B8v2/l7JCGiuECJ+P1xTVGg952QNW6feBefXMLe1NeP/ss8YCTYAwIQ4lxHFzxqGON5V8isYU2UfhzqkA3DXGgtpFBQmvL62fXAfTqco2WMZf16Yb7Lvh4SzTIy7Ex9AX/GzSvSeIJmeb1Ww2Q4grSahwckKXnX5M1wT1gryaoJqlqcWIjyIKa+bS+dA+eV/3iRw5YpOrK+OaGA4VxqISgn1mC3Y0SA8qmiSw+ue0WHHOD4XRM1//1+N3tOrbqukAdNCOW92VAdOqF5ib8kb9zQ8J3gsZBDq22XP5N82dfdtxgF05scUPb/NE+3cmZOf734WEU2V8i94XNRvcF5iTA7oU/k0oO6sjToqA+6VxokPG4TZK5TeEaY1dowyHyv9OJ9vMGo5gTlTJXNmLs6UgBTlMNqSF6/y6hbtKdtfJ7PEM5ydX2SjZaVd/h0jePb5SF7+4rLdCyfSUskOYfgGCwYoC1FO7w4GdGQWjV6uAaZUA/9peoudBgaZQUNVcbKVWaYWqRINQD9U9f1/1TUy+hLDPFx/IjJBFIIZ/hteo8KSU1SjXwmyegF4ClounjNsKpqOVl2uOvoFbTWdaF2lga7IAFam/8c2mc/JyhLhgGsBVYRj/Y/m88o1QSJTyDcLaVGm1XgSIR/cLkwz5ixeDeoA+famYZhye5pxyXNjk4K07/IE72YXNcGKbpJMjDajMT0DTpRVuqPvF2vsu/GqtQSfdJ5YZ05jHsrjl7y6BZqlvkwZbmY8b7uZFIuEwFzGj48SO06b+NLadTu4ZwkI2M7jlOJrfyHxVau+RzJzA06Id9PfFMHonmAnti553+r+TfdXuXSQfeV+kWFCjxPAodI9FGwHc3oIbGNNXCbXdvDLc707w0Xhl+mDOxK+r/H58igGZ/i87guPPh1ti4Leb9zV38m9ARV9vFHCoXujz1HouYdaKqoI2r4Omxn1897KAcY/mZyKv3ruGTiFRpKjK57p1up2KNm+X79RMQbChSopdqS5WtNRJy5EJGqrDGwf2JX5PY36MSwZa932F+2elslM2oIcjiFIAz9nH7ggo3BvilFEKm0WQ/tJ4g8eYxdRTTG6f//rQ+S5+iXCjfLHFEfofIVrNecvX3mvOeDK/XP0wXqqf1werh0MN8fGIUzHlYbo0aXUmniZe1oZpq3CRhFguAaByBtTGA1tOpjRQvKhXl1M90NYJJ8jX+SV+dhq2C/fLsFoJROr1badU2aFEasZnnik0kzKwN+tg081csILYw1OwiGuVPTLJUKq9kzPoZ4FmqjzSI8JNKC5Loni/U+Z7UzFu5NLh52JGzJpdzw1Azduxbv0tEBjt2IwkXEF4X5QDthBATv3OErPQLeXgLvxSwp/Sji7c71QCoVKvmRQFN7PNA65pYfPseB07gAcIp4V3lB0XXtyx6VC0K1+0Tj1aS18cIl5+5yT0J14VJWspefpCjnQl/ZUQpMFjgBJDKYFsfF65l2iHt88Zz96dkENCRoFnhAxkckMwcyvBaHcE7qJ8TFfcEm7Sle3vG+Yf2eaiJ9KBE5DdBIOc4qt3+hTVhr0MTP7l2/SDnnNiAbJsmIMS0U9xNgifAup6+GiJzi6KReSkk3BIfyjTciVl49f6GZ4GzNVirQf+Uiyvh3p7xR7br+RWHQBVHPFXF44N8oEAaaL0wthU7ln8U3n2S3xBn8i/WVMc3pFnrXn/X6+dATiWktdUdQy55rUz1QoEr2dKhUN3jww0V2UPVhdnqFj0tCsPa1JgQEER2ZRFm9Wqbym7PAKKLIDB40oBVg1yT1s+Ri1OqupcCrYB8DK2Zd9bBlnqOW25kkrBnT/c4vKAgGBu9/3Z8zttgfIXQ8gqDdxoU9/xCt1IU/Hi9EIfmg/5q8esUbUgL8j2G5n6GOG5t11Lqel1rDbTQd+hINxX/4V/23LGXoDSdGcJt10tcWfeWT82n9uQpPVgcLhiYeOZiIxVKwZSQW/jNQ2lrJR11/BkKHSjAwCDaJlKLtsyqND9kE0C1ujoC97cuzvA/vd/CqkWtuPHANdaKR8yGdHPt83J6dBP73xHjOyGN5k8Kn+zq6j5hEqF7JMb4vjN6j0Vju6fND+QnfTSs0EgsMTiVIb61l8XNmFc9IrefjlcBntTeF5/touEAguWKWBVgkR4uUleAgLdZNX7g6fzEmmxh+GJFHej6/p7mPz+4I6J4jmDmpn5TnpDjETb34VzyaTV7l94UicO1ZVoao8z59SnuAEsJWU5smFCYXtsmhS9P7gT4Z7vnHDOQrTwGBR7ao6yO08n03TOv0s0r0wnFUEeL79uBkYsCl4qlWQDcA0pS3WMgFkS40eCXVt97+gVR4zbcd97HtYd0TTeTeZUu1yyo5QDJvIDOV9DeBbaJ3UGGhd2q2HtTcQjhCUYlK3aYp9ml7AblWz/TbEGZTUlT8JFUdgkJNdEH8lijP6kqgbOpzL3itUlsTJV/u8ek8xXef+3DK7NNyYPZSmAz/EXpKyTNNi8HSye95kCtjEwSDjjKu2rytY5P91Wj0YQBjzqR/+2radEzp8kniDNR7eK/NiJt7+Ps+DgeFH/tQnIFve1oMj0Xyjspx1Nev0oUFq6WRJVLqPlBvG7biwVF5h2OsYL+WfuvFbNFyQbX6ekthYTa0RSl4s5GohjZpTbFZW+p9swMby6euNGxndIpRsWzkBexhk8xwmMXpT+ElRBBySsXyPBCSzkDiRAS9ecV6I6WMDUkwtiH+lSpBDLxJoxK4wkrV9Jd42j4WK1Kg/HnJE9uOoOzZ3m6Sl06SnODVR+ban2j2F0l6SEy2RQS2uau3n2WFHI+NR+E6tOVJKxzKm4FEU+qraIui6m/LJwO4mp19owJCdg5gr7NZaMHDS4Ouq2IizejB4XlPf+iFU/NbkFvOnq2/6LMTj/WkcSl0os5wndN4x3i84fFfJTwaz0ZbO9vd2oN/g25a6qxX3J5Qs+7IY+agtaE/6WSZJHpeaJGLYetpvwaXdlyfToqVD8KE7RpeV3YIomxKWMEPCYhB8RfupCJCfP/pmHHSgvnje6e+cRX5kr5uMSo06ewwXpPkye7cHNHMIxrX+XSuIP9MK5NhLxn0bkPabXSV/EsaTioq44oxmHbrlDl55QtdcZTdBuR8ZZ1NGspdvZUZ4VBcDJo8jzSA5rGDmA8WZwmsMuGO/NyJmPJwHgsZudR53dlA1fWgNYIw1ZuTCysxjNDQJ0Ak1Q9REtqklp3c/ikm38UeF4PGG2OvhsVUgjznhYOYZ3hlbq0nB3PgstuVcqgc5Oz8YtmbtvvHSOiTDyHlr/C7ZftMPJ45nY4mDJmolXK/R86SX4SogMdJARRh4/svfm9GXeuqeU4Aq76FRxA0uQORtz4sOnfm7SpxIcThaQA+AXzic+gnKkdmbmEUy6LMLzWqR5cy4H/ofHcWE4uVG5YvGahCeal6mJDN3mQSsDhx8AdzB6txXf0fAcWig6hoRi1eYSmkdGCuoiAnRLr++AchWGjnI/Vv5ORlqSVyT4wSdpw+dcNVrWyIeIICAEMNqr2maT51w3zerA6joTbQQ6nD+FDkZFd8jyByy0uxdrKbVcyYgJTU1pdXDlmk1o2MfL2KCeDAge6QHYNGKt7G0fdr1qej775XejQfsun3Ae4WREcY05z6sI1WAUdv+2Ud2YBlZwe0lVaCkA53olr+OGXlVirH0xRqXQ3qIGFQ5mf2vtIntT0tFuTJJqXvS+kromvfREhmTB6+6bHqeOrXcm0CI7MXVGGogPOGv/uzcon36NcKEpclBhrotOGkxD7JOquYsXIrbPINzUXHIE57FLxHJ0VpsnKFetEBK2QvrlAwKpg0pvS7bKdMi/rJuExbgRdp1kk5G6n2D9LdbG1meOvLBUie+p6xuf13LOGzgm7eaRSfbNvXwbu/Q55uW/uLtwIuIffOamy5XFkUogp8Kdlv2re4vSXRSTMrGQKeugkhLr3vVybCWK2EcO63wgCZrCZN8uobxqfHYazr360sfVxVs9PpNvaEogBtk1EpjJFqviUNlZbTpt4Z/Uta6B0s2vVIP9ZzKJX92QzNc+NIqPCkqh752lKScnX/89FIvx7N1ZZDN+DhFy5xL3L1l1gq9xQxM3ugYecXnRK/yIYa8kdwWd8QtZjFkbuQSXzGtkhZvx2iPrcoSL+wsqfMmSu04wnNRKLwrEuVTndYl5tQrGjSCwWkcEe5isQn+ifPZLU+P/wezOfgRiMWwcNpOMG+/OJS2sE0oXoWo39O2Rv57lheJn83yKVDDFcNUud8WVn5pxA1UQvu0LKZxvbYqXqTdZUoYkd0+AAIknTFKMq0ZQkeD2jJv5VraY80CQ3xkvNiI6spXcwgqYSKWvAQikX3VO3VlS0MRVgDbGajKfWqHAGYIZtUMxyVocdGe2vElK0ttlDgEB9w9l7XZ6p5Lg+Uhk0KXPbYFTitHwTaKU7l0e/sM1CIL02mkSI8wDPssARrU+4VTfxMW7tHIWaTDaJ1rzRRw0J8LZtraIHUu3Qg7VWyP2MNEcGuZ0rg2qOhB7W/a6fSMdPNcoJhwA6ak1oAphdZ6o4XFfTjD7KNjc+xeEMjrE35EYyLeLcod0ZP4QsrS+iwns5YgcSO760E5s2+p+4cQKEVt9Ok+Wsc1c8uy56hlRj6oICA3WxXTf41ZO3R/aA9PYMweZ1KE45N12f8zjROnRUuNaFoOTZQFiDz1x5Cvms2kALPsJbfbsztg95ClKLC3ItVxjxqFTDDqfB/Dei2P94YhFcDStfUznI3BGWdBU4L73d40AOKOmqTWwX0CSi3MWAf4V6PvHAQolD0KzdRjvsbmfBuklGKhxj3mezSCHzB2fewowMF+i2IWDF+IXYpcgLlfpMjnIMtZ9iJUfMLX/ooWN5r8LFui8Xnhix19wq3zifQ9sxEdDSP6UyqE9hJU27KQ8ZykEn1F5uPrcyIcisCPDUd0uB7+JKzc6uSdhKpiDGUjxMiXJLXM6gX6edH3Vq392iM3oapP8rW+W6rlteIscISN6zvSyXgwPfqMAuj2fypG8f2fCCvhc+WUZW2e2R5ywliIXCwg8YhLZ7jOxE+xcQXVp1mBbgA7H+1ytrUhpcWwGUHyAMnh1Aw56nZcA6DWJBlS8FvzfJYN1zicehev7X06VvAFowo27GJmkKfA06W9hNjXTLjnpWc9yZXLDk/hK/pZZTOwUlOR8CmCZXIoY/4iXx8t8ATG9P/Wj/lNDAaW2EUSwJUttdFO4lDveh5s+4AR8D9Al77dQBrwboBQVu4xIIXBI3w417R40PmA8K6orL0BHPfeKP4gANu6RS0/H1fpYNWPcRUbnHKKcE6k+H+e4rmTQKv9WEcSAqrna8OqFjGWrYW25zpeij+UBNCWODz/aRjuNjx29ecEnyAxuynXwpLQvsubWPejkLiv+k5PzuDOAw1My+z7TeKj5/+zyEidZnflwUWXFpEpzFGLSqnsTSS1YrQG8k07Yealxrs20QPbIAI/k95cta98FDq1vFdbqxsLNmvjtBQUZqg52UgxJEcCJVz68FJKu64N/jSYfekKp4AyJmLfcwjt+WLNzwm3SiDjJYb2FZKrX6bc5e18AqefRGSt4FDY+qGLVbk5VVqxmdhBzJaiPZnmrvZVC31QrMe/XR3bmhgKX0PyumlD8jmnZ61KcLE0N4BXOowhQDAIrP4HMlzUJLaydEaSjRja/bVacp275rt9hfMAj6x8Dp+tWNHqKf1s4kLL4F1wQf4Ehagm7tyVNUrlV4zYdvKX3mIYOs3nlMey7UKlqacxA95cn14CBygou8n15JVJRRyk+ib3D8KhpLvYyjxnSy6leuuXnwnhWUwljJ/BdMzjykUCuT8xqWJ2hnuMlebUeBJ82Rk97Yijbd+2M8qZOe0pQV0EBwf1Pp819Pj924LACap+Pzaa860QJ0k6KPlJXCx9zUOkkGZHk1Iez0YSzuPeKNd9Zbdk0mQrfbT8LW3lCrIJO17uI8kZKxfAEmIGKXIMlhqxnp83TCFnFh1eKbmi/DBDBSHosY1R4AAuIrOvc4g9YUOHe5pb8uXmeo9yVDer8Y2Et8K9e2KmpvO6qXpdhheCQEO434jaPI+J/pmV7XddZtcJyKUUhf/gO4xYvouD9/uIPIJp3vSy1YZrVmEKngQGcD9R2jokhoC97xJZOA7e+dpT8/7S2pEBiTblyL7pDzCANgDH3ME1EJYnKrluR4mf2g9CVX8FkzF1X5ia0BNh4JvGb5X/+xArem3sdU75x5X++2upwRxrnnCXJO2UXsyIsqUB08GLx7uUyjIi5KXkFCcpPrtaphMfUinf9tM8tPAah1OVW1OqZQJh/d6xuhM9HWsIche6zm5rgm2f1meHcXdAz3sUH8pF9PU8o2OvOBiuh7yo79zkjjorG/RoSLwnNEQibZ2ELWgh2Vm7+46gXvhudZAhGzBo9o9D9cyYDkNSO/zj+DuMZQnnd6d3+OZBDo3dlqz84x03mkJeXL8rTfYhdlXJQAOO4WttKv0q0je0ZCA9DUbKGOQyiHVmYmpnLu8Gj5EhMVy41kG23WBdRMybAruzynQ4XCtjRBxsvJ5kmwxg0ctqZrBgf05EpEopK+er8AUGFsNN4lnd5U76nq7PDSj0IcK8zgiECGDcN653HH1yIauPKJjKTusZu5L21e3Se3GeisxqNOZCmMb7lFdp8T9XgyUHlSwQk4gzgCu+A1w50oh3KcSWSd8GV79S4kUPLPrrQmln5ili2fRqkX8XORq3hp1SqOm6UiwgOmoI4mlTLlD1qDnfPrYBAISQY/UFKw4y2NsOK9zECGQrwhILWmeqyoK3usuihkNCZv1Of7W5W/Zr+COXCwMpVQEe91MJExvJqypIMIQs4z14OcRfnraWta+qWdXx6+tVOjIJW12qYPsGRlrH/9GowoxNNsMJZytZDeI6EHPF1W0kXNW5rVRDsK8y7SvvKsXmEq4stAkyJMDwGoxp5bola8ZuigAk3Qxn67bLcGeDLOFhJi/rBSWHXavhlCv32Rl35uJToQL6WL/rau4V4lpR+A7j80u1rsDJGGRDfdl8sbOluytv2LMj0w6HfGjfp9aqMx1QdhrQhW2pEuu8mDpN8EAmr73lVrozjxG8FNCGUxsA78OZoY8zf4EjTMutc6hGjrcqpjLLBsLUByMGjR3kZJToL8yqyPdBZvAvSPWIhEA4IKewHaCJ9ZRqxAVV9zxyXj5sL82yrUbR3P1Eksu8ePzWt9xR/0mPcxDQ8SXMpr8Yvjd2LQM4xOLDFgXYTVI//sMr7pvIUE9Im+W5UkQXwXgsU0EbFHKVRGK6bVj9CFAcEdfVAHYYJgzFBMSKEPHsqXANL1Cetgyf1uL7E6ZDturzKD6NhAsPD5gpOlIJxTjOLsJYJb0ZMJGNPE8r7jGfevgGiFLi7t+UdQzkCe0WdfBpM5KXAuJ+u13AOch3A7tGWlVuiLrzRt46TygGadAiGs79EkUK3btvPwxj1g1t2NJOhZZ7ofBGZF3sKD5vPMn/4heBBSE2GuF1tKd+p0CAAZZkhnLT5ozK/idMwDZ79PM9NXHzXsNTJY1J7Qk1Sh7cYrpQ7DHBA3gsOFfRHfg2VJMuPc+cQhJhbSYS+pbsr+5wKFgI1GK6MfW5NEGmcRnVdmMYuL5/q2RaDlkAjYyfkiG2X0mmYeJBZ07oSSfMPWXMKoBdJ/X9Fq7r7LKApL3nTG67/9TS1adgIQjOPG3NNId1RtYV/UbZOeJML7JOgzyzrMfY1U+7r4gCldLu/ccrk+O0vMeuvLAb/wAJN9CHdzNSYqLhMg2A31VZesdyPvr9zxCTPjXD/g8XrBf3l5B0nuj8YIgm6zWEmYN5rHZqWwgtWXXDY7olj0ZhKdL9Z1lpdTZ3XpwsFnoQ86SUJ7kOLLv7aF3wP+EGSmDhHBTTCFFG+WQ/SpYfGy34iJ3Gkj3CZGbkpl61fuNbnnmJZ0Dfj7yaIc/Sy4iihelB9HM4b2ru3JwhAFzirPi+MhsHNNZtiI/k2KeiUhKtrJ1c1rqAUIT1f4xM2hoYHp0urf7YKKUS0QvSSp350pyNNdiEjPXP8lGI2NJI5EQZrjIqKPX78Qq/DIMgkiSasmvS/SPMh2AhVY0SVqlxy4Bs2QR3PNLTpWKAF4kHvBQBgN6xr/M3Xhv0s8jOgaFd0cDFvsLdHgG8TWPERZ8PREAaYUkW1YIsvwdN2bGLNrb3/Y9I85I8Foh8olrGV9HRXtdZu3xFt8zksosG4HSiW+W9SrKkjilU5aqRuF3X+KhFwIKoq4pev+/Hp8EX1TEecE4/WNbyfGboIa0R3N+qWNa8bcbFYHeNuRXYUaHqgL+mP0m9fovd4BM7LTXvDO/Y/3JfPsamJHoBtyFkLTVJt6NPGfjSdesQKBcoKYOxYxb2HMvg790HBFanxC5bm0RJ7rVjzHCYrPdIzBF4taek+MKaEKpUgyqpltMeep42fbwQuty8FJZIP/msvN2ikGRBxABtJP8ElLs/R7QYiCeO9AEtiF0+Vc9Zdutwarjuar8V0U9aIvu6JFRax4BUU10uXPkki8BZ+UGf9ZfHTkildtUgh2NPStpPhjidpIir1+WBfzMAzrBVO8ISze15SNRjdVRyDhWpygXibPIADVOT3LfOWXGY79YXiQ8+jB3B/c+5RdZORsGGB+AbWhhWSjVbZyzTd0c14tbzV9mtus6f2cE3a/2Jq7efs1f6jyaqS559XIT/vbus0dBZXetQShSkbFLPItkhkMdSI7SLVQ0mg7DJXaZEbt9DOlsnNit29Qp04XX+JgkBLjTfID+RdWRK3rxmA7vo5dqX5MigFaBaS6kD57xmzme9Hfd+nBblb9nj3ji1QTMgqCwY24ZlXm0niM9DVRLZIzA3GSLKCpWmjg3erFMCADEBz2Aa21tZzwyAQtEz4rohz6aCw8dG3AUH8K/Oy7F4M/uXBe5jlbgd32yxu/wBrOzuEL8YoqFMMZ45gVp3oKLVA5uKh0NUr4mjhMcQJi92nBXUc49zqls0TY+ezoFeXbBOb5DRuwo8CJj7wVm3zWKNtRDOMu5BkpUD9kgER+L8cI6BaavJVK4Tt2dfXHk/A/SMB4K8fBiL35uHz5nKMtJR9MCVx3O8jS5KHI4cyHHDYv6rid3x0Gw3rapD6tLchK5GWWjVtQbgGjPJwHC2qv7K/MkwtuxdqthmycCedirAKy9rjAjZdF4EpStreCWIOV8FzWWCoCp2YYC8Z0gTr57fyHhD7sZQl40xsN+6255aWHpFKWYDFHzLRarj1AQzbIdPViaX0MsX4NvAc81JgieUAh7c7bgecarqclF6UctltSu/0RRGpcd1T67CED3ST5XcRlofA6r1uK9xtdIaf6JTY7phyh0d8T3PrXP3FEym/vL1WqMfKlQTkvt98aw7eKktMc0SaNC1lgqhAiSxlMYGYCVPnf4Y48WiLjAvGnvzPkS5fJGqR1AcOnUEDpyaiBCUkcL1NP6QWyDgswQclGvvP+OQTIEvbVLRh7pujYoyAvwoWp5O3XiDZbli7a/CXWw6BWNIfaIZwJs00F/cGdgKieBkfWy3BU7PvfnaxUSe4wWbQ3VvE9vkHbN9J7qGQIW9PyMpJB/kH67oAYLBpo9yIFzAjZ6oJ4WxmwfSn/DE6TljnhfhPxkj60K0tcw0CunJ6tXWlVnIQuTrw9M6Sq3gixYlbmgOFw3Q/4qVgHWsl5BhiCTABQ9IPZ9yV5O141XVag+Vj/K5AE8ZA/z6X1W51WTGM1rFrpAeCRHZctOMCBemXfAnpWfUOrs2sYkc+XViUeAvfA86B3KP44du2diAF46i+c0RyNiPAjmWL/Go+NLi9uP9azM/Yw6CkUnMp9UU09PG2NiT0wXY7vjxa5lintMZAfY9+Vo4EY6TxV4maxcIvyAaXhe6cIp/pXK4M5FLIO4XqlNqTjsnvYUbgBG+IBTAObtUB5US1evdSKl0MGs6x4NgbhuDKixWBkRO8x1nU96NIydOL0Gb7m+egKvgbY2tdUZuRAXxoxLwSpJlJm6a/kD3ya+xhf9QRSWYYsGRg+dtinVosO+of0zKaNEkgcWhOHe9sl5V/CqeRVkoXzTlu+0Mvd2WsIgH0zgTP3T7fdg6/CnTR38lWMRGl2yDdYvJz6V1W0+uKN+JO8X+58Co5Nm6H2+wVf/IxncH1ZjCCjaCcnqIaRx4HIbuBk7K+frCw2/f4KsGFAoYmwm91NNLof2gYOj/vr8v9LgZGSGTcz+RA3xhjs7D4aywLNvxxlw8LpfxHQbd4pn5K9SvN2Zc8+SOYHcEiQ4Qe8gVtmCcOKvlbCGkHcpB1VTkEs4Oqq8HExp+SX6BfYLeIirE5gMi4s/xMgW/EsWhW8pvC3x491S2/PbD/aa/g+nB0RiUPcIf2c8PZg76ZLFuUDVxAFl4+9mIZ+jgmdi4pO+z/eRPXObnJYWRnrk1QhM9/Z0h0r01mJNWtk9hOiI/iMbJfbsF4HsMAlvdj/oRvRWQhmp/U/epcBYhdjaC+lsuiRaLIRgAhg2TAcd3vC7uLE64A8NBPOcgW4jJesluhT/bxbIk+tR0uViQ7/lb7r+JA7x8esOdMVrqT3OJi21ufSUy3SFRxIjAyjipY+BO13q4dewD69bWox3uklWOyU5H7CuD7ZQnhP4HeFgQSDQNcjl6jkHE5NKc298wZhS/f6l4N7hUfFIulnQSVn98DjLI++XfH5didCha8yBATkeTxuVhl5FLPDpn3wjfibMEcfxPSW83k6PigwBJqvdyUl22oeoJjNC7b+oFpzoR5lb+eH/cvR3CFTCC2b48THEN6SdEkS/kM2iVFxSLp/VdSUUK6xyhDRiNKro/yFuElANV5/bBuT/TklVr7rcckJHKvbYYDuTROYEKlTO/On8MwrSOsSibfqswD3rTVaJmM8VC/KxHJJAHFTZ8V5QiPpVpkCIX/JfGh7tDwIyn7mBdXbn5IEpfEqHkpxep254tb8vXR7RGxeBB93oTsBaDF0YWSnVm4QkS+fAZfwwyFFMYeTHnB7NQ3nV6gQAhmdjVBQOhfm3ZILI/rl76KYe8PXEIm4YED0xE1hF03dKeBNznK8Z+8MyiEdxzj3+TG9ngzMCXCff6uMIpm+TgHiMKp4LfcVoEe9Dh0li6RpwMKZxcVxQ2dbAuOyz4qu/QR+STQGWLqhf4+D5tBqJVTMbB2N3LM67lpyYKjhL6xfTKQ89qdmMZaPCW45Z0H8pKnYgpFZN4ozR8XUoTcRw35SJ79dc5TR6HXLnOqoojZA8qCrMKPRid9RpBvK10Fu/5gcXiquoQGbOmEHBHV244+zCxqVvaCH1VKzaPOsalBsjU1jP6sVkowxyzMPO738PY7flGEoFVBSlk+vIUwY1JvtOjWslO0hWoyrgmENSOkkCXFE2pGbH7aClJ9shKYESb0M7rtFzEMIpHG1YyFoRQ5HHOXBAoBd8gM/X08qmQw5/ihQYj9CIAqbO2xig5ZtRd6E0mWHnGOXiBZNxm1OYN1pFhuGUu5LFb4iEM95hxlH0UzSvALwtlO8abzkVtIjYQi+6cKzBfWJFEYYziwIDGfyOiWCt2ajgIAlfXIg090/QFUA7RIXbeQbK06mRoYGZ/uTzulVAkoD3xeSevusKWwjp8BlMB48Hi6G8QzMZYMX3Sqb1ERSOYuX4OBj3Q6X3/tZfuNMZMz4K4+QekUZ2h7AASJOP55FaCQGGsADD1e+6N4C4Fu9WWBc7AvdyO71+7kcuFzIEUJzCpl0zlkWUb5CkunjR9V//r+gmbfpd5Y/80i6If4SPCpfkMUP5KzcwK/1FngEQBsiPIY+w09cCoIsytyE3Q+pHAk3pZxgaVexpkgp4Wn76z4YZ/OR/SzEZmpXsoXH5pqN3WwK6S2T6xQ5UlaVXsbJCMIsRuUiUV4GQqY2UFSgGJhSGonWDHMjhX9ZFimcue9ZKeQXPfJmpHPc5rZqxwUw9oyf5pNoh5OwKoRYaa7X55oLHeh5z9pFY+3n8my0sB4O3vM2mlPdGW13ZLMztW7E7wP9Gg5wBJurEr3olBMm1bC0j7kam+dO/PCaxC6TTB6aHba5XcLQAFMlQeQMiEl1tUn+BDpoucpjFjDUisFRDF0zn5viVJ8sp4Mu6ennJibt4c41Hrdyx0Dr3NTfXrkmTmx2P+6hRvxZ099HgAbYVP7j1hJAVIuQQMfSno14oBEb0OFWlc4iM9nhV8KpVZLq8WN3U/Km33VaCM0LilCKjoS+tfl1CpZltPgteQmIkk3cRmZfKMbjdv0VpbVWvBACcm3TvnoA6DoA4wXWrnf3nG4wYoAb9WG9cFi3zpSB/yorfAvoVO99R1I+vUNL4Z4Y9PZNQzLwRbeV7XOerpSYCPzbEjmrCQ+g61Yf6pzvbkuf4O7J+BHF7tXu7wTd+a6TUHXZnMnih42ojChcVqBYc3DtfdqAwsmAvE851wrKgRelwDpygOUoY6QJjR2Xji1iq4hOCKVJRmfLs+TFTtsTovKi2M9QZURhu3Ace1z9mayBevI6WQEqPDa/wIXwtDVqCQuguV6IFcjYo0Z4+uDAeWIJtJLMB20VpCx+BcLzKl0djcKqu2k1hCAifcZI0YwNV5+Nv4vl+pQAYp+Gghi7uZb1dVtiyomYRyAjJmimndGKZQ55LyNkbfY/FhUpUj/GizuGLxWQy/ph5kJ6LBx8GKXQKPivME84+ZpGRfFF+jP+CXvsZBafH1kKh90kx1Tdqw/ut9eC9rQAfat+c7QKfP3jyZCfmJ5ki/5LbKlOoW5wYau8KF5FeSQVyRIZw6ROENf6jnghRkTOxc69Enlz1bcTZQv7Qtf92yHX+CntjNNuL0yK1BH5smSvjj6AQDZuokPwBY/GgwuLs23WylVa6VFuazPSNd123lz2XD+jPrGeWWUXCoKZwvbMDmqnSoQa5MU7uGXEVpgZ4IAv4jDXB9OjUEiWC5Q9Ql49G3E5Bxg9Cqqbf6biUqwppHMKAQICbVqD64kJMqcoOofS/RXomgpeJ/ctIYUQb4tKpC7uOMlXuV+8HJyX1mlKAT9TFKd0M6Yd/YhHXntI+TQwOciQR2hY+mtmH6SxKwsuE7OXo96/HizvxLVbUBFmhX1uzxqjQjrWp+vgj+Yr66sqA4gxep8+JsC/AevLgSet1PcV1pJr0XnC0h6N5RckTzSAPPKY+9k58JdA9YCTXkB69BTqRxt6GwytaaQGxGJvc28KQETVH+76aw/RDB2xId5A1js8ZVW/Sf72LTr7JbVqOsLoAmt8GI0jKwWAv+vxFfEcAR+dZI7kichCieGMq2gUcCb16uPhLjTbYqjcQikVIyrqYoNTXvtRuJko3/FxIjNbKCscL8Nrnuayk9/ThGU3oaQ4AqFi9ie7tBInvLWfDwTeUo+Xz952+lEGJyGVnOD1Rqqbzl0c7ImOkC8ovPGJtgsKjDz9FNW3wgqvDVzVNyeAFU9/ucQ6gX8FEeB+xEPI2WxPruFkSKYWJH9UAt7xWeCycotwY3ezJDvYgVHK76lwqxsYoob4jC+W8d1Jsde0yv8YE4dJBULctPV4E3qrQqy7vvea6anNzrEbkQxGx4979wXoKFeVbc6Z1IP7Kxy3pDtNdchVvbROBFY2nHNhdFW7CUGUo1MCgBjzCpRj3e25cBZo9Xm8SvzvlztLgWvGodoy5SVCwCKLgKfANhkb2sbLN98KpZZUQQXBrRw6L/Yvl4DIXfWkqQTvFlpg4PBjA71DTWc3O395R66iTGLQEbgfu8/o7FPF7p8TMaYHqoAzyOWCtvEyS+VJajYkFhOyQXT8ATHP5KFpAbs/QzGUwjrWNC5mZk+dAat+nSKPGdW/hbAKxTiojIm+Ro3XVRGk0uVxEm1tslyC41qdKt1uZ/1YC4XOdz7MQzgrnBUNe2NmvSbU7ZjZMv0sNaARymRDmCBoUissw7I4adBYAMIqadIUNG+4QD+hqv8EZ6qqH2O3+JDM5XNZ8Z9+341vhNuS+wmTa0jO8/1o/mOqUobJ7OVo3Bhkz2BZ6Tn4wbn1xOR8U48Zf0oBqLMFKdubw7eLFQxQG8nhVzTO0RFX2r760O0PPf8T2iV+YqVGu9ergq1yu+lHHon6XqrBGZQa7aVhJJyIYdIul3coshcR0d5Y0+cJbdoh1H1mb3QcZ2Tg233pmvtoIOqBj9BseZ+nheAfzeKfnbgAQhkfQC17npUlSDaPlb7aGFtKTKYc9bLGtlCtrN7eVm2TpYHuqxaCdMP7TM+qcQSfE6AJ6W34yR9sRNqpeRWDpmtxXkM5At6mAErx5oiBHy/yIrnMXRwTSfJbw3mvdvzFiePNWZom1y9vrGoLNuG7dul/0aNlBCN7nmqOlIz+Dv5qDBuX1Gs30TS1hAV6yZLReDfhx9fQQUhJoXVRCLj5yBEx/Go0wcLUeVHgMammU2+iB8NOIGUg+87DR0udwucdj2Uxy/opO3FSoieK8ClzG43bO6Z5ez437lRvhJO3x9fCRE8nz8MKQmNtNaMmih/49vJZyVC8e9wh4r2/jtkXypIDp/Olpu3wNSXq6hz1Q8HeEXd2f6U+VAQ0sd8r6bMAutO+pL9AmgL1kKpTp8/ei95LKDEpZedeTgbVwFugGDVYl0jQEdHDcuFGTTxsbrniz2MUZfO8bVAjoLuJ1bt5SFixuF3MEf/8kbHHqTjLN5/TRbcJAHUcRMfzEq27en8tRf2PWZLcQoeqrZUrHVFvO8hqyYLbIGdEQsPhe07rng+g5GknNrTJkX2JAI/eU4Zl88E8DkAv3N+FfVJPna9sO7FNMmil65ps8X10TlqCSFl8RtHNMzJIySmepnZbdFN6laAxe2CQigBD3tRulT8ZjoQuX4QfBnxxx6o50Avvwhl5e8A5OAXrRUddzMzKK8gyz8iQ7u9j/xizFn4YS3zGF1WcXtGQfyCKqXKNNkSKwzVR6UUtLoJk534hS8UGZcfMGzYmOe2fnUIZcYmizNmZHl+2NZrDi+N0bIUlJrikmCyXz3nBndtQURj4JTV58egVgW5ZXffmkTPceAN/6H1NLAAsVSgmHW0e5dTlYxqGaIshtXEzLXR0pYNE9sALiNnE7TfqkYyaKtiy4SLJofgf0+npU9Ht52rLgwCjwUimR8KWSRGRBtuH3I+OFmLKimTVLKl3Fhjga7PsUUa/1+LdtRIlrMpRTqrKyA21HH2IMy8QbAoNiqX+RNUCv9GYZMCC8GKROdFREdpO1cZjX97nljTOemAsCHEkeF21oNibYmdkAmXwIZNFZPxEDKstIyq2QVRxuY64eISUjqWoOITwUa3VPf9PXrYDA8X2D+pTObiZYF2n2pW3kSUM2mXgcNfZyu+dte8GQb94QqVd+jy9n4Go7xN+HYbeVDEc4vTtPhuxfBijfc7KwOL47lcUHRq5eUX4MH6pjpGotOMi61Khy/YhRnVHM54YvmWn5rxV0Ai0AftWjAd6qiu6k7m9e8E59a9wwULSKCOZGFERzG7llozKkTvmADXHdCecWrxiwIjm2aOJ81IAqfuaDtYQEozXcoWsETFoeTkrBvBy0n9NtM2UmGohW1YGIpLueeEh0/UcxXnESMqFP6LPIq9/WYjeodvJDc6VPO0NsXDxvRwZKj/AJU1t8XlprS/jfH68JdPGz8etabHg47glKHWZO2qkHROlgLM1dhoYv4okaP4uGMbPOaAFfJtdhQMuDbORH5HNq3v4F1na374bDmo7lBi2TBWzWjnDtt2CNVuzG5fgzSFBVN7C7HpqLaCCZ2pQbOd/vdQUCX725o2ENPw3rTFolEmo4+vpUHkuUH3wQqkEy45pZKvHhd0xDNHl3o7yMoN1nkZ/4zkCJpKPsZtPJXXzpv7leLcHJzy4wq7YXneKM5cJo7MA4eMv6Fac7Ck8CcWNvH2HFy32QZAyJgQhL1ANVZ0VRfWnO8/t/IwSL3LWXQUFn78O5qZbwwgih4lI/j9YKmRze7JMlzyunV0e3wm3QeNNuCgRd478KxgWZSEi5u8h2nqlrjM1hj8LlVD5IBxDRk/eb4pQ+3p/pWP8omdpywwBlt4YrzqPxGhDz38DL9/dnyE4zMi/jhkmu02D3nDW0P13lPz9HBSOm3kJ2wuk9gaSrvsLNVADS6QYEtR9q70ZhldMu7nz+gRDxCARGzP3u3ncsmDM3uOTGNFdVPcvjs59QpHwMLYecCUQl/PcxkupsQKRShbdRx1wMcKfcGjalsGuo0WHKEmdm3bgE0qIvWjvIupA4sVXFi7QkdKX6ypivVAKfNJOWPnAEycqX7E9P2xE01G7a8PJil4I/kxuRARZ1v13UelSDC6tLfMjKD//y1PYq87UvvYuOsVVldgTeredmfstkQh6b86mU83qjbnEKcGTWLB36C2WlZ4yj3RKo1Pt111J7wWPC1y/XX6XK60xToL++mfaEmzvLqqVBOjL7i9kmKtUwV63663GCFmAiKM5wjYlIY7g29TwChijQLLQMHg9Uboj8PrJaUfn2cupzrnYJyEmw2SmmM38rU+3WEiLlKDA5B8pd0d7K6UMW6mgPbNTNtrNWHQjEMIt+dg14goP+MEilUxcsQ+a5kvqPsS7EirYKZAbCtXOhGNZj2Jl567oveYbRHBxd/I1tlegQLWtUCluYLG7ULtadEKr7fEN9gk1sR20QPox52pZf6fr3D5hEinVDoWThzoEEyJeDbh2fCxJcpW3CahuRbGa/8XWQPdBQx8wG4DneMIam8DnbBXg0JF3y0ZBjx4h9WHaPVmyIZ/9VF4d8xRAqLJoIruJk7mXd2xAgCOe7yo3JXf3ULBfFMdZOJIoSUzDbvbj//e9fUtYUuoSE/BD5Y4goBGu37McmptbRDjhDWci7PLGtCDjH0G17UYvUbYi40y6oFWi/4Yh033OPHI6IpySqhLI7mjFSKWuRyfVvLLRepbUpTEI1qb0FvquOUDckTg5574WrHIB2drkQpEBi1SCJlb32MMhuDyMKjjs3nijh2W3NIIXs2WLux4uXa5nKD1RP0WOPa7Dl5XLboohKZw/RIZOWY29yFXdgpWFey+Vi/nO2VsBAmAfnJwdKno6DpVYvAcgHTIoBSiwS1mpicbh3sPqqmBjBaXu4uqvfWzIrrS8wxN6Rm/QISQF6zL5ixIBLWdNH9qWi1H3VmICUeizMgcxkOQ3iwMP/0xCc+kkpj9zyO8n0IsZw2BVEMu/UajZThHiFBFs17apULnSmIgtqccTGi5+ehXr5W28F3WbxLjHIzxokq+mDXgNBmNLghm6cFjtyramJIkNLscLclI08W9HgT75cSwz+XSFA5xcrENOL0hhqAq7C70/vXQGhKGQc2ceBW70rthyaEfTNyClYVKxziiBL/GwD/ZQnffreh4cUiFF4Ifb2/d4BVWPgWXYGYg9/o5MmuS0C2/7QIEDl8tQs/Zzev+cDlwSOluRUYjVoeYWgFMWA31b2rc8HiofzML35Q99koZbMKxLKK5jX07lTJfoSsf3bhH0/xZl/2rLpbC2tNWGNXTuMhVWC1cMLVQuON/Mc4UODAdPqihNPssSn4IIELqyNz+jZtdXmeKGAScSTN9dFDk+ryBPON7eZ7dB3Kk/Z2oiBBKWXKHD1grGziHXaBZARDTnn9oJT6IOEzoWU9y+oZmKxUZDZ2sUM7tX8Kvohh1xpn4R++oYN5ZB4gHxMpPue0Tc3Odc8MyyjaBu+VHKiEkyeYwrNUv3BdjcwhHEWiy4Q+pFGLNB87jWgw9HxKtBBRci7K8pXZ0RLIzNKgj1OzqK/mm//y6VW5rwYe1rvbDFdQDY5Oev4c+H6r+zeIRWlOduH4rofCMmpLTJ8ZgTdKFUAOJIkJzrNaF/Lfpho6M2xP4wLmV74XnEXTY8PULxV+Fj9fcixoddXKRECRMSo/Je2lN+bdtPBT4DY6ujfxYZh5LvYn5ejQQon4y4KJUhQuQnoPyMzNXBSc9MGUQ/Y25egR9Yzy/DqflGT40zAp4KJpiHlW0UDVVJ1nX/zBsq+0DrrKDMQlccb2UJpieFGFCP5W4p9HlvUCmjGuhb2hOteqL8HBBOshbe5Hj93qjQyf/1ae79RK1k5tACDPgD74zFE92pA/hCEkPWpxEhrxqqli3u6agwcoaXCac3IRz37GqZ4aYHkDeyhxNtanhebK0vIPF4BxR04bYqEmF1oGPL/Vzkl3ydulh+RCjZnayDb4Wkf0WE2gXGc4xxFcKaOi8nK6LqsROaBKXzYrh9fhKSsIYJIT/DQG3h3gezVMUkcuM1nZt5mlDVz/yltVBgvRs2m9D67QVyudsseypPg1LeZvV7p/cOY7FeZhRtzna8gDeTZXNCJzandU2CybNZbqkOjDs7QNtYVtNK5v64jNjEbX5wd+SEZiXViNc9CR7THy56sPMSypJh2m8aUcB2g3WfOWieL8hxXHGLdGB9o1x0dELvEM6CcY1qIau6X/N4++Myft2dcjSjYNXOg5LVBqrNWhvQjnkmCsj4U/jLO0t5CRWsn3b8wQS5FiyJk/617gqwG6oGZOokuEKuu7jpHTWW10qWd2+bbbJ98XeoawssvYauCZmcl0vJtRzhcuWeHZI+3Mlry6E3SFrB/SpxEMk8sug0BX35SaKqnuHiTj5nSQxsBNJVtxw9n6vv6XSlvNxvd3TXuUMBai3vQxkRdinWMduyvCyxFDCB3pEgJk/p/iPXkQKw0T4HZ8WCjlViCkLDCLx2VlIb7PHy0TE7LZOsh9Vp3MNsiD8WRnP66cWSHtdOr+4U+cEKyr+BnidPTFHhx42DhCZRvykopWuzIz/hR8IziaJW2ODwD3D0vzhPCu0aB3wXyKN6uqYSxHPJyfL1tQpbzf+fzZm2pKhc8iLUBH/tNplFdST2WMMN/oy1hkv/mXYa2ZtrpPJU+OkITzT1d/wag85QT8kep6jvcyRa4MivHMrr124Vou5ShNzLEPxx3etvk2qLo7dkXawc7D2qEN1Fp4x/2WWgic9G2xhTCj5M+JXN8EV3OiZhs9SCptO4vu/qR5IB87qxxcQrk+Toy0vwj2vYDQr/nIRLbBiZ6ypvGL55yN8GHL0rL/WEG7ngG7roFt4UYUjtq98ae3B8QqtNS4c9B6KaRt9ZXMhLQsQB3m+1/PMnnhMzF6K0jW0R9+ohNuvOT0cQZRobwZSeVVY7pLEieyhW4de4a5idUq85P4YowsLNNGRHbyxd5JWTeDOLPpqghVWmbeneqgcMvZVG6segAah2DuYaB9iNuAZgvDAd4yojKIMoki65wtqpfxIhHyJ2awU/Q3wx3MIkw6kYfud7medUKmx/PfyeLcKY3Lpbwht8ehkjbFw3ekxlD4yDOyQZjKTnBX5tRxN7OJx4/KRj9ZF1WtISSh18EU3RvVYzYYjSwt8RxQLw8BwDfdIJ8FoLI3UaBMjon9Qq/NDJ/3QsXAcl9rPoEg1X3/ZJEGlDMrCZLPJCM7BQK7jqjMfAEQq0/nufRD621THcW1qKAyx3T/eEoM9wG+MR6BoHd2ZzIKtD+osAZ1o0eSfxW0mj/C1ZGjlAfCTj9P+BtZERP5eqLNntCJjkWMiW6wtsBUcZKMhlLRzCSKjCd94kOk/+744wJ143aHovnju5z+vmWQjUugKQWAo8HkEFsJpzBqQ9WTcqzeVdtDj+0CSK+qWlbePK3JkULyrztL6t449fOIoWY1yTdfS0MYX2NRcRfYauXbzz3Yu5KHj4NLTCPfosMGYicQFdBR4BHXTtJrFIH9UjFNCT999L+H9P5rSXYMaE9JvwiMpEYowGgMnQxjCkkvEa3R8GpLTlGGlRsTf/Kt1dahLrTiWHxEn7dnvIWOonHhUH6tNHvgtQp3Ep1CWSWlUqewxY5OSJfJS4iwfwi/8cKYP5R5cZQq4S/EbtDW4IZHvANLvB8GtN8vF6BDuhNRSmLoByxVR5jAZRPVZc3iINAXDvzvsWx4AZkC6oBRjluRNbakOGvjLBVZBRL9BB6vbh2VMTY3a2bQR64s52eKfYax9k0YQhx1bOXzx2knc9P8MSgkc7lZ+n/c1g8xFLYgSrAo1Mq4vljcnxCUrhJ+jQ9jkcoGfQ8HtajPFErbqSBfVOImmBIZjVPUhfwfM87oxrepHkmGGl+yRIThlaKKRXez22eJJXd+5EXnpWXPWMnxa8AapyrJmao7ke1qylbqaeUsB2XB8VtE/Vx0W3aBn3ACJnNK4+2mIP7nCjiANfcFeclTsTG7BC4g+X2Mhon+DPZqeQQqdySKTAcx0w8xcHS1WbHw6NZgq2y6cXlVfc6RRLLtChnl0hJCMtWCcRFSTjFDirseOni2PumR7vpo1QP4tfNbz3br6gjOLiG4zk+/3p1RYWSzZWEBDo1EpdaPXuHdXl0gCVcsY4Qz4u1vha79pltLzHuESl+TsrpUzTF7bK1xLwIQqbRh+VnfUcsVacEPL5/2+Qr6w/9swHJJ7mRlQBnqEcUq3OTC5M60CrKPx+liW3tNEcAy/KZPEWL+YTmGUGRQpcPahEBKMYKzUL+KSESPGe/U6KsuBFbOwx0TpOfMaaQ3KizOXIUdPG8c2ldFb0xtnm43RNSPevD8FQnUTZthjXNJfmMG6f7Cg8P28oBnwy1cB8952tSsKYncczO2IfLNJ3QSnIKpMATXr+NcATE3oGvpD6jSiarYFgD/OP2nm/HiFvxce9cQYRWl6GZoRjBduqANQLWcLERUGQPnG65kZtM7g+dE2EOmIlINZU1vkjK74y6vLRuzexIguWQIwXYduvPALrnE6MUNl7ZFhUatwAbASNIYz2UKAR+ySXYpLbrLbsvQEAekzCrIKf/JUUGnSdqjtipWBBkfXodq2gZEkPWlIMeISmjC89PWiHd5TZjn03kT8Y4uMv/eSoA/nkw2Qf/W1P+yxp/mJqmgVzOz6wNhFodRZrj/b8pFDzZS5CZBh2/lho5UGQWfvY8jlWxtcGOjbi2NOkLzv8f07qj04JsmTL74cQOkrFsSyNEwKfldaEy5HY9bgMc25nwGzeQfY1m7jkyVK2TdW26W3n6lFzbk32u3XzixOUuBa/zcT3kp8hJ0M2XueqIsIBCegr/sv/VCu/6FV6G9XjBJZpmqzD+OYWCcJ8AxsHAxJvcv/pAwW1SmmBLFAfqdFbC9hXD+UsKOZoh+qhEAAu85STJfp3W+YU5WJXPwNoDJv6wGMfFhDJ1QceQWtq7zsL30xNzharjWbRYhxz/QY9AcxurCeJfynO22mLcGOUmDWr593EIHJhy4ZRBY40mJKmR0B2G66rw5flOkRET4YewbajSolUMzmvG0FZw3lQ6rUf7AxUny5vAprgqvG1mYuLYGvUB8Y87zrVfML+7PJ8N1XyJe+j1qdW9Gg7ags3yMtvYqNMTmns2119l73q53fFvQkvef/YXM792T28ui0GXJTVOFqKj8JYaXfuhJrHiDp//35Mb5BKrgCiRXKFu+hzVoaf2WatP09z4EYisjLmSy7y5DTkP/XpeR8KyWOIJ0ZXP0MLt6CssrujdbhdtWRveQs1x8NVJQ5/KjlisIeoo9kh8+WcD5JdPwMo7ZN1feYY8/iHmGsWN+QEl7/DQKJKSAMl37wW5wjwUIGEJADeZ7coWMUDKlyHFJgPopntQl4kPjhAnNo+DCPyaTRI7YtVVF+mxfY3Nho8jEWDK0Dy/R1fdVMQ+eWiDkKIlZ0ugxR/wHnS8P90lftrQK2JXb+y4Y4t20Gz2yJ1Mctk6JizVgmKhCVHu/UU19JgQsQ5QfYZn8k6Bq62DkYZjsMLBCddiQq0qbz0btws4MTVW6avjVydMacAxXTfk64bQjni4MeBUbNCQDG8DIe3ydQ2mllks5kHJk+E43ntNTKQQ66okZWS8c5qboMRuqEFpgAuuMoryWmBjp/JRhsH+MevdbkMBnnxjMVWjbJnOaUyb+tTPEvr1YrRkSHqNrR81bmN/xJBPqs1Y3qIivMgp07VrzVwoMiMLRjjwD/aEdVkhYHFQn8qDM9yXc7pb29BS8W9TeWldnNIgFNtKlyxYWZW6AJB1REz6oGXPUmNZJ34g6V79/FyzgdFz1bwXScQhnz9uwmddbzDWBPPK0JVrAgHMeeUxlFoD8uGiqCxDRbPkSbRKsCLEcvqYZRDXlWsKKLcUrfGyFqAE6VZGoC5y7xa9A8xIuQy4J1TI0v5Ee7O1kPt7wYMuOESSPB8s4JwuVjInoObq9AN62aMb1k9p2h8kjU5K2o0futm2tIcSnUImHv3n8Z6NZFKWWURcmKP5IQijv0kkslC5NDaeLnyWaQrF9jdD2g6uk8fjz8f/ZkHkWhDsPyTsMfd3Fi1McufeucI3KkeCCR3sTIMgXfmws/xOudfZfzosAuYavCRqsbliuLQCCDhjCVyJfq3hDvJctKCydniUt37/XngDRqdddriD8Wln27ycSXdtQWW6Cm8bq9yRK3f5yQTVOBywpN4DatxLbUVKdQ+TrRxDrqMpAfRRMhugl6lO78ya84DQ82l4uBzJAJJshfD4qcxdbMYpijQMDoPME16dvBXdrIXDMew87G5eO2xWRvZJgT/FuCtXZE48o0WFEVotiIHJdhz6YwWBLKSa6Mz/re28OKdMijFB4XL3duXrwveyr362KiS+UO4FKE3z3+RG9I0CK+eGrf/xsSekNxLCPPIheZTcwl0TpO9b8GJb0SFsnAbLLnL48cLGSzxAbotoMSVDUhaoLIjQsa5kJ47AeMh/JzuDufAJF+oC3hwIt1XtbVa+nV1JqDtphJ3kkab4OwzhRw6OaESSK8SVoNsSyAv4SOxUBz5jHX9lQfrGMa2FHklr8qa/LBVTPxQ4XtrXmdR+VoM5wtUlc8fJtrw2hy8KtxIuJnfr8G7Kmv9itsYtxIFZuAp5ebX56lpMoUa2cxUNhdmZYV/hcPpQe4Y9jVPcbtPH74SnIUn12V9ULxi8udUqFo3XvZgRQYdH8ip1GTzrALgN84ePfjbRbJ8ZPPDLbtJ/0lexO2CFVOQNmwpvBsBce5cJUD/1CEKePhw1iM8tymGmPX9CjjpLoloDh+WMQOzkBmzpnIhQBiNqvq5eYLGdrKOqBzO4hloqBJfmn18zYzNxV9Djf0zWN1e21JUdko1BNBEhhW53yLzt5h83xFFfZgNzeJWq8vZ3LLhOvK91Q5tRkm1xIu60xxMupCusYw1aa8J3cCRUnsf7hC4bNap3DFDJef28898tQwgXX4Sz8iXq1W8rB637cu2w1mqN6mbOSu98lnekBk8jqKWcA1Y9KDgB6yFqCm0gEUshdKNXZmTBPvUSsccOSnAMp0Eyw9afHTmYyDH3sUnRK+guFP9KwZcqSMwCoy51aOx0cEAyFOnWklAuvI6K1RFBdIvleFz4DsacK4EBXdTyHQwmppbCWMBznK9zhqIA/YXo06kjESok4KPj7w84F1kAUCsZAzAT6vwXGc/zlvwKgejLWQSl+KDWk7UgHPBUpMULAzIN77sFV1MMZdMb3td3GqLSjYGWuXfB1TPI7YfEuyzZsP/9URNY0naZgW8NwURc+QoUgJcW6JtUtf/ZUmVWrIw5mGsskcEsgP0N2oGvl/wFwzzC3Fy+6o0wjsdvtOpANKnlAd41Wqwq3hWR4UeABAmcBU7buRD6FrQI2LjrVL66VBnjCld/s17k1tgoZdvVPM3WWs7s0G3Qv5+ViGd+zpJoGPR7znNStxPRag4T/6ApsgTsdGNcEJc+uBGrZwzHAAnzZXQJ9SNU1AtTQxrIMEFh+C/LYNrW6th9kbw8hb/TeQZvMnhvtT+zWD6ac5fy6Ps13vWSY4hqG/V/7Y+U+j7XkQ/5CuqKeV/gZ96FtWF5vV0FV2muQlNXFLLxfLupQECO/iel8Y5PwHW3/Bm/u4qf1KUla3+CkXjt7erhPEu8JHW/Ins4prY4P+BUE0UV43wXDDrUNGs7YZQhLZEXz86k8A9EwHbbNu9AUEMd7gkIPZOVZu4BusbP4UkpWtH4MnSfEYCJVtCG8h6iPC8GkCU3t7g0+AIu1dZe+5rgvrU0b6/0LYLTvuxZ/qBF2JIHkUQaBfpiqyhpcIiyMe4sTkJ0pqRSwgGc6CIO7I7d9umy020IPC1oWPTDES0+hPpcm2DyCqaObW9zz8iHa0Nf6mwB5XfOK3XsHahbQOquFOgnFsxnqJ5UUno6HDe0Z2rOqI7NYG99qPsQZbwy5o2eHHM6ZDbmKy+6WEbhZW26wIvMv97qP0DNRgN0mLwDV8AZyUe+eNayQaM9p3+00UUiBN/hE86O+3fasfo6WecA4ODycTfjARp8dnhQuIHGaRX4Gw/J9spnmEYLWHxcq1VNaRhHI/Ti0gWCLZtV1a51ztj4TdyHa4AJPEQVeR3EVzC1v5LdZP92OjM2BOVfDx8Sbl6usRo63HZ1XMA4YRA1V0m2qDGByQK7w/H7ttbYG1P9zRjTvJhc7ceBaEJA3zCUUmkyw1k7Ec+M+4v7uB+/NNV6QqsFiTsy96qr+yQLd5M9SyXheqpFVUu8j4ipaEF/8knQOF4nGeLycudXDvn2j9a9OKqPuOGThu0TB2n47T7QRUTTLV4czn4W9cx8ekawD3dvlbpiBYZiRhU9Qb464QVLlEW2o20OiakljgQPp3/UaLhLjHhGkx+i97/1X9egS2C5sBMpkRN4FvtZ3Px3ot409mT9V4RK6JGEqtUEhjuorarNQ+UCghqVO420FLR8r+ZXq3FEaBgV7bJVTqfslnQfle28yKmGD/E4LCrZyNJHCufi3E9YHRJZBHXQgHO997t9ncQq3b4qsp5+IE+8oqV0LcQ8OXHGBkS3/OiRoIjCsexPzfcWt1qfA50+gWN0qDZy86I19oh+FK0rnBY20guGKXzxCuk+R7JGkds0YeORmxuoEp2NjgnMYrSmpJIaZ0Rl3t3HNImvVr4hI8Nn/SAYox+R24803ud9N+rbzxSWBOnSaKH/kYIhzrzFb6cMFzPeZecNI90KvN+zq7RaJsjfx1TYjV8MxUQGXUjr1uFHc+OTZnOsoqO3oPPU+WjM20H5qNnNBe6OvFuZyjT8FDH9GnvYzQvkBjHZHfayQmxlYnrP+he9kO5hmB4rgRoyKDupmPhzM2H9zaGMSvWgJdNW6dOT3SNWrsh2QFSP4zNgdrfpdWuM+1CzwKVhs1+moYpdprmzSdwlJuWzybimkvMVaoVbkDQ4OgLiskCPHZiWPAXhcWnYxLVTYSHNI3lc00ZR1owKq/xERbk6ZDlutBzF3VejXh7lMbOghI5Vlktfh+ccbSro7Pcf8v4n6SV3W1bA5c0NiuAjv1Z6lVHJojw0vYa4nDVntTF4nMQXALDRt4Mkn4ve85rFOvRdTr6CRUonP+mMbM21ylVM4NTVpZAilpP8YAznjvlyEoTfVFPnKX8U4wDwoCW5Pdkdkruiuq8aIarhcsSLpvzi8xxRTdCDQrGK6r4K3XBmHnGAtjAOoZgFGPlmn7SKU3PzUmjRQ63qg6MtRCUw+6nFtBxaYEKcaFriQK/KOJI4mac8gXJGaL5fUU901HDNe4S2CbUmcnwezheim3VOES7903nlB8U7ns3NVj7/Y2GtBjYvXzllK/i/wMYxDlD+awEN+PTDepVw4FlNNBF5C0Pp9c/UT/sEe8hzzMJ4rQbB3Rf3AJ75WPZ1xFRgjXe+8X0DXYncZVOgG8ATZ7p22UVE6ft4U0Ah0bHGmL7ISFIlRZjH9dti7ZvntoxZ96+BHww70VtbtOBhy0HNaZMlwm3maJPAvg+ZNGb8FTMpXubTnNq29f4bm5VBr6wAqBxYQCw323mjb3uB4HbwadpuPSw8meMahJB9Kckvbs7XvU5q5fZaGBKYSeU5Nju5fGRuZQnQJbXDmWwT9sCjvxSnEjPjUYPI2RZuc5XdfQcwGz2D2PCuEpwuH9/qXfomue2u/8800GPG/ERjHCu7rdUmHMeChmvpbLzvfk+kbdGQVmWeMvuPg4fnvIq7dwqZWbgiICSe77tdPPnOLD3Eo/Y0xJlDr0c8WcGzAmeI8ZjnkCqltymlOYeo314L9u+EwfNvxWDwMD8innog7bhlbD2iG4UKbqgtIacU/TLp8Jn+caAUgBchub/CCrYMUn0dbaUHXz9g//Bjk3WQDVLLaHlYjg+ut3yLXoz327qFARc+vYzZr2Lr0F75Sze6w/3hxC//IDN9a+7Z/qMFqbx344j/u/gU3jU72/pn1+H17THwrjkYEKZtsc6cH8pjql+QyEZR1bxuOt2GNAMNIdZFv0/4eLB5liXaAxSoWa92qRBGFmkIV7BatM4nbQzW4aj/T7Tsm+Ed2EBj8adStz9P3zRYJNS88JmVdDnfL8qMamk/cvnuWMAZJFEyJLcA4e6lecytM2qKBTIgZqEE3lo0n796TzZ59EUC+e7lhQJwcz822Mpl4y3HLrD8h5HIC1H4MKv7wZJyK09WvT4nSy2dlPSsJXWpHN1s5XUnw2nE3TFl+CMyiPAAY8FdtUGDTsR87I373sjIVP7WANJwpoQRlMyEIFxlQZyVe2RpVMXIqq0LO4D0VnSm8RGAs37/9NT2vRyX/Ucp9N2p8GnDQ3U1LgRyjBXhFfFezmC1ZYZsRhI8yXE3TVVCu0HuBj2WKyhFSb+ZvnQxBLpxG4keDwMr7yQz5yC9tzRMRCbfhOhBhAvCP2TYTMs+d9dH659G5dUoRG8mC8tSr5h5/VTrPmAqTN++gCHELJhoCUmkb0qJuWUgXf91dIkDrc1z/+aD3oiKLRFEQvTGsFk/FwoEjXaWPSQR7y1PJ0roJ7nFjXCEhzwH01VyHGCPGVM5Q2Uta5NctU5JmeQpNHbJFFEaPbzm7shEWFNiFzxulcKFPhiliaXYAO0pjfQsblgMDISHCBjRJ4ETJg4Kvq+GRCkCfyUOIwcLSX7Dk8AnTW5IFac7bt3JHVZ5zjXNuldGEIQxfiWrJW2D04uRCSA7RKMylCPO3WWYf/QjJFgRvpHuGRgLUUeRqpbbm/czrOroL5Q0r7Fhb7XPWNObvxH6iluGN3ATaROZHQ2GwHUhrb+OkiAKebfr4s7rtE55uiaDIhAGLadan3NUx6A1ccIbdLp18B+fSeQYinf04VDzpOO75DzrqlVmWvIy6mjZk0wSlOrEmrZtq6yrYCxcJtTxo4VME/C0aSJogQb5blcsqFhwpZitrdfQg1JK2C155gbeYa80o4QMLTmHBnjYQZgEeEZAEKpwIgBpoE65ut18zDdCvxpr5ugvflG9LdZJ3GR+YEOxF8VUYt/BU3IOWZOYqaVv6e3yFHpwbPAiTuwoxXUwaZT6hEPPRM1SJtN+faKDGZwLyW8ABLVqO0F83OAgg+b/HUCrUYjnp+rzN3CjCMdwtDkoOY1+6p9bu31BBt6sneUYBnWdQ+bssHRZZFcFO/ULL0Kb/HgK3xdRnPU2qfr+REcvMsmDdwW54DdWpj2wddJaK0B4uGldMTS3RJvanL4FxMDwxgK8BQMEF88URcuQah4D00UDuD9GFRPXvHZSP0X6MmxLagAlmniEDjIVw/9U9x5dW7OsrVUcVC1flC46TbXxL5bWN+o122eyhBZ+ooPmHN3V6TGTx26kIBidZ2lZcHhjyr6laL6qari+nQcmNYkwBx6+6IFoOV3omAkEe0xLt93aeIXUOFr9zsWkACr82zqhSFNYXwRkEquiuBzzg0jbaT5FjZTan5QoSRdqTgPJOXWpF3sOSrkxuo5DOtsTOj8mqkGbElS+f3ObJd/K85eWVra06YdU6ZRPhvv7USuNal1XhedQEf7XUu/PcMMGO8HRWfP0rIHxsHgKhqtbm+5SIgdOv1OSSMdBQZZNqFotCeyGbtZlVoUp+KJg3jI4CuZPegASm6+WYPzh+Hc3U9XubU61x6Dq3dpn6e5KqhPm0QvvD7gtzrOYy2uHceNXKVDkJpEWHkW5xr1CyBzAdBqBUokk0NxC0NM3d0lAwoCPJsjIPvxGuLkRZT2y4ewJSqWuECbhLKbFdfQWsEjPqBN4B0uwM8g+6sGkiDS5dOd8k0oGngwAEol1BVsgL3fL0OAMEVWm2KvVlInZLBU5eWoWKzXOwz49hVQXpXBalgVQDNY5Kz8M0Ixs3dDIYQ5IrOfjeQOshFF16qtmtLvhG3UekyURB3XESd74xdBGXy96HjPVb4lK55eZgggGmEMckfDQYizix6uEQ65xyDHtoonlrCM5zOA0AitQYDc4PI+Fp8FpYE1HcbzFzpxodIl75r48eDVcZ20vAiHRm6u6nMZctE2cvq1jfzgIVXL/jGtssvniOqgo66j4aL0iboSF5QTbpHZcfu0Ib3POJbwIve2iUTk1nN44dyvUHlZJdKNAcWzrQHF0Eqv/LwLXAeR2bzArdlH92QYWhRPxcEZPMXmtzIRbZUbVUVJjjvbDiIl6dqwNh0KeP6ca0fA7amCa/B7Sk+d6GXGMa0uM1KzqY9Rct2RP85sansvHV4Li925g5v/giEipXmdc4+1ASPzpYv8sPStqVAny3lKh/KBMDwsPX6OdaV4LuV+HJrP83UuXFhP+C3aSs7W/eCuObI5pwx/lPOrZec/W1LgdNOD3y5j/4rtp47gVp0bCcD8aaPRoM6GzyV/lkeEmBQcgtkxK8ypjaURmUyJJxbfA8AsNnJcAfTdtKusHjJVQZGvwbVmHqthXI9mjgOXHmYYg0U7cu185xoSDlgYhWoCf1Fd7yGymZ+ouMtRJE4SQLbaoBctcc5P1Ruci3oNNfBGfrem2ZuiDXRenYxijUb8SVaOcgLa1prUJk10PRRT42E3jAfN//ImWFj6x6VIRe7e1BcJSHXbMJYtC8is+lydoKgaMm+DpAo05FkNr8B0pJ96NfeSZCOasB41dnA5QszXpXyltQXKJYCQcTVm4G/3a3fBx2UqF83OqNr7YUCMQTmnF7ptcGibppetp6wD/phT/G+9zuKl9V96C/a9+PbWhte5JbxXSRFUk80AzyEsl5z8dAErs8QTlDPsgel1a7Cj/6qiakAqi3BSUd6HPlV3kIt2QKnZXFKIfitKa/e9AFL8o5MBwcuVpKnElKfwNBCxmBAMvrX6K4+qTwBYhePpZF3wZ8A0waJ8Gz7LGryWF3l/KtUDvlmJYVlDgbnMZjMl4kn1EuYIFRc72sQKESvj2U8D82SrQHtCjGMa5nwxCrAYem5YTUyUTjvUllpsuUMGWx6QGacdLgUhWNWu30tyktbc9kz2535Lrf6+EAV4OJmIrxBCplid0422n7IqLdPXG/huSgfRjOGyr3eCJQZzhFUWL9oHi1x9QQL6/3iBT0N9kD/h6zWdp8x72HqUyoJVYN+gcF/zMCYOnIalsRXs0zvjGorr4XjljT+vsT5uWdG56oitwh+umOmPaF5s1b97z0PYbesIvcmc5HSDpGyOO94CVZxqwKu2tf0Sqol5PWCYyosgOM9netXHAmYeEmpfaJAt4PazZbNMdslK9R8lzMtB/VrRvzMCMjS7KuKnY1lbszm3mCyffmQ+FTwwt8Q95EodiIJJUQSL1qHlyD8v070tKBoddpIBOQhtkUfl2KoUnWnlAqHRCpMQeNiUWn+HEaDKPQV+Q6e2zg3Mj+BU7el5d4VzpEkVle+U0zfiR4sANb7DVIghY1psJg0JKeJOq7OdSAsu2QKBOw6X8eDflNegQ/NThqJvLYr4+AnZTm687E3cj9w9L7YwA0IMPMseUPKaoiw528OtDG/Ph7K2XULJ2mwWu0/mPkwNdFGaozjVZ1VKM5UphM4LoF0Y+XCPVDsc5DyDbKFEZLv/bADLshO6hugwsSFry+4JtTltv2LVF4CsbeNjwhqzGdZAgqpl24RipMbk0eqHH9PeFhlpDBID3hDvrBkClF/m9eCJ7wN/PJdAu+gT9SAnM+2BIY2/DQesj8zE4u//EdnLJoyXC/m/qPR5Nz78pmUKD2qi4++OQy5O9348NleE1M1KjCc1AYSAfatLGPMM/g4R5VteibJ4OWl6vYF4wuHqMw2PnOcQezRrWExBe5oQxQ9YHzopVazGzleAZom2OQ3Q7ngP0bz7+miPSlDAOmV61PqzysIM+MyA84Naup9J/LSNBV3tA/Pur3A4BKsPCl0E4ZK/CcgJdx4xzNoY0mjKgqIUCTmyiPQVPf+RQvGJCifpBIZjwKjWq0Nh1l2v0Ul4gxLFNVdWc3UgwezMcvAiH/NO/mPPPj/+p6kcRMYOb46j+6EjZy8J42Z0zeG0F5J1GBkK+8Hdwnd66Yf2soU3X4MQMNnTV/NBhnHID0zNcgDEFITS0apI0xVx7IPJPOOlj1a07jFchDrJMMy4jW372A0dXfNuCojDJSg29F0PKiVCDKQAcs5JQhk9NYPqZccvxJId0f3+aXwnmUe4ChCfiiSUoN1x8SIXxLTPtuPpx7V8oUcOgBLpv+z7PmQkUxc9I7sLtJ0M9pYzz0+C7dEkTfZWM+8hM1phewBWBO+568YNGECQilBV0ls6qz7UpGRbC2A0S646BZ5K2lcT+La6pr8g0dzPygKJFdSjuE0uegATKAwqAjv358zvno0i3gTSQ15HCpNznyEY1TFlmBS6OaDsQS1cAHOcB6GrGejgCrvv5vdSSXIve0rSghswoLHBOepjr8YdREoHeI7XqQEbf/Csswug9JjaUOG4N8KDgWSNNd0eOC3Xv6oPc1IHxYGlp59XtQRuOG4ny3xVYZoA7oE5zdLI7QHMTu/ArBxeOgbOPt7fTmNqAaY+X4HD8P2PYrpQWNG/nonsMAXyeStQrV4HpIsazHWTdF61DAEBicLcFYdJGtaDwiotONRGNuZ55Sr4UKPMzkxUlxz6VhQc0BC1GYfPGhoUO9jD7DU4gPu13gBperrOmfPozVwFBMrQSVNzMQJv83tO1uym7Om0UP1XN5v9ghzzx0FcFpXP7g4h105egtczmeENRlYlNsTgocG2jWEE6wMkJL2sRBF0tLbFy6LMqBBeWIUyyrYWIMlEYcRpcI/JrTsFIva1Kdk3/clMrzqaEx42oRcVw18nzL46Kxo+i0fob2JmNj2pB+P0IM9P0nefIviBocm3wQD8R8rNfrBo8eODu7vJnsLRh/3xa07YgpNQsHeQtkcpbjgKKdsUT9iUd+X9ngo7MYMZj+IB47DXu6IODgb75Q3B9cHXHeDP5p2QO5f8AyM014pqSEUgUExqMTNE+CGY8EEXXx+i0bV1Xh5H3Nz+tdW/6RcajYsqCLod1pZzzY3gGVzBeZIsy+hIKTnhDbtMVrHwas8QkIlj2alKunQCqodTXNJQqv0XsID7CTBIeHouBhnrTfaSOGz+goTeBdWalHUNO/bWWphjqw1DgtfRmsYMGLdY2lt/EXzyVlUkWhUgOWodhMQDrtdmwCAUfNlo6xl9dXzGBZzFcUJXIe7sNcVn7MhsrEY9uVbviYo64hSBI38iwkCbJG81Gb/t3DV84kEwSopBa8wf4xySXubCIh31BC1rcXFixMSUfjMkv1EIPH8qx1MvRjo/VbWg/GB+adkcPLQfGfAcS5KCr9YgGzYJuSjN9mWv6q37+bx/fDdExQVRP19xRajWoTvdIeyy60wMMCrwgdIe3nX90Fc2e3rJTpc2kkboThlddZ4Tz6H7E/RhhCqDA/KCeI3au6QT47yM0gtr7oJYqGmRj+vP1euVhCQHkDwj21/J0BnWllxneJqgLNxpX+ySp8THnyLsASsys4Ip6QL8V7qKG8z//caEG1aEIZzTyk2nLJNGdFqhiElo9QI39sJYMRJD5MbKCtXWKCPCcUzw2l8RsSpWNrvBkCNJdBiLF6Na+FatarKXjRD/vR+5YhTzXTyfUdTfi2MXDztFnfjRb/E5ag2TeHM8aUcWXrK5/YJDr+C4e5rpHVYoJwVhaFs4d+NOJDIsiDgqTnDbFQ0O8q+Uead/tqlbVksDrhBDPtgUDZFD5LSAotPFMJ+Ufwemewr2VbwVXiwMdC1IQc5ZlIw7QnGpHDJUBvq2neIw+qx3YUZThK1kdLaS/uTfCzyXroTLzQMwm1EnxKO0mhWsc1kJ9YsqzSGWdTGJHii1DQqmiJ1PViw1av61BBYIfhbEzHiFETupxMXYuya5ui4/qvHsgJ6FKXXCPOdfgvx6EfIckeydKd81VyJArFZBlZ7MaJGFAKY1Ksj1Xt6ospmjg5h1edb2XuTjgWRsdDtLI+Mau/dWhAO5JQl2NjWymTF/nwjzeouyjnPt416SHf/ccxSzdD3JZAJqWrmqrWyYCvT8d34g8QKHgpnbijJFawbidkrT/zLHLlBXKFsAvvJ3o969QuaW5XYYkk8Iwg9G4x+eENHUq8/Lxv6A/NRfmYKDGlQbE2vVO6hpoFuOEHKVTYe4dovip3WwSCFPYSnB0QeyNrJJ7NWS0n5168ZihdeEbF0i9RazA4W3o55hn32STbUEj4/a/VyPpnq97wEPyi611NdP8FX9ojzCxkbT7bmFNGFrezc8wfqXyRFSqTkb7oLexnFK1Fxv++yRjpvs8m7U3UPXy+zmXyHQIu7gloMl5SP2Na1bh5cmZ2wq6z2oyF6JR2jmXVq4PjvMhId9goWYEeViOH6pqTyhhyyBWlkgTPUmNiRl/fg1Z+uLSmNOqeY5NruUw6KoRbHYCkmtWojiW7LgLSvRM/d3x9z92DaUUVT5sJjUZVpADzLiEE5Z0p/B2ggn6dfO4RwCRiZLFbnsNDNxrnnVIpHtFla0nCHDpYLcmcM9ibN2VFjuWzGZzZTu1ctNMwvhu1qTRMey5+DZ+Ia2bL/ErFZj7+ilFYi5QeGuB4JDWrrEAthUfYpzrbBZfVjTZgl4a87SjnIhs5+zIohDWIYCJLeLyOURNsG6eOQY7YN/IGwAYAIHszdPDtZZ5QoY9lydCiUVY1GksHYcFo7xwUGd9a0blL1UPPrVGpHPPlTztrG9qISMD4ZtcBB4kP+44lILcODhpaS5qKPgzLmRKkRZaaNiEnBI8EyPJ5qE+MNl1Dj3tkKL25g/RAwNbwtxc5zKL5rvz4DEl7KNNcfF5he7PCJ1fkhxoa2vCIuud5asWODwc+uazY8onV34jyM1PK7YdU56By8AYA/nrK3Z+FYko9lvsBbygE2ZqisJuvdN04wUEonsm9balo7pIcl3UmHQ5MXZnh33VFQVFqc7Pwku6ersoFzZW4U0X/uDx4ljSRHG/jcL/u38ItdJiHk4ZRUbYODOon1F4eyqGEY418RgWt4Mh04RarZmruz7hiUO737vrA67E7H8JQCcLo2/qzVrl2E8Ue7mCVAKnYP+6JjXHrkNOQ06W50i1R6w1ElKfn9S1lbx9Pk9dmdabV+J/xaNBJfcar41XlKGkfWGmd+4cgpTtuAUaVdMnXplfls8sz9wwSVfNACCIYi4XBaqaF14SaiezjJAO2/nQYGIseDu2iO0dCBMjoOh7ZvwH1edTrAploYYU1oudlI/rz4g7wpnujvNFYNw6o9XJbgprHQ7SsA6WeatAHR/9k+u6//lRSTcEjy96FVgsWJIi3T2V+FpaiCBTpHHNyXO5dLO1CIuK+lUqqATwQBpzXCYMHaACM6nER6md6zaRNgmS477Dgiehvl++iG/R9M1Y95DwXYlHHUhTKEl2lxhxnVhTqeUbRQaK1x8v14jjOKKL8q2oaOThZyOaQ0P448oiB1v4UqH82JwhPqj32SoJw52ALjGWGkMSaCoHOpu91dUdNxaGno/n9VvH3umBpYcOoh2KN3DmHKYpzWWxr6oYhNahFrdsmo4voP0kU/dlkHsOMVXc7tZcU66im5PbWT5FvtvTCUt4iTzIuX4AhdnLrRTpQWZkavcBr150+mKOfSqprpkXT9xidyQ6RdIxm9Q9l4SMs+Xr5OqoHwDyRuQlbkrUf7EYk6mJxSZMlzkX5uKGdvhC/1lt+Fp8EYksf8qbrKQb33detX6tPHXR1jTiY5DjU8kS8q6e1lCAY5h9kEU/6V32N9ekoUE4HBNGO7mj/5XI+SeooVqUbKiv88Yi9NYq1LX/kicIj0TkP5sP+ofn8qTQLa4NAAMd3w/aXJBJOMkFGBXUQMZLfIk3mZ9w2cngY4wMVahDdlDypzaQ0Q2JmK3L/asLWAX8yfX0lyDBQqjCxN9HKMglhgigAh4btA0bHJCXT29vAbVdwohv8RY5VyIZOF6gysif0uuvXes0sSQo6W+X2ECrOp3R9JoKOBHeH38DK7bNfotBGjRRQeknBDQgqHbqtxgozrGWqeattmEHcDlmn72ghxGH0tgykOSGBv6kx4seB7kabpxk+rajEYF6N6B8DD3EXyfPAZ4RSbPRlxxDiTaFyg17yAt3DqWVFmYZO0IqPyh8OIF7Jyt3hSaDYdW6xvADOOkZGnbYMrKaLN2ZU2Yaa/DyN4rxRE1d3bJlB0VTJPsvvYfT/qDkQQYcqZNtLmyIhXfp012ACF+xc6utswXd6LuBbNxTWOC9ynSL1mMF4bpenQXmyC4qI0yQSHcYLX/yoAJzoa6u1WgsEo3M/nSHbL9ANMgzHDV6nNJ+nq+aRLoVJYoKIGsq39Ovq/YPxWK9DAHb1gX9viVoXRtUbUllGRYy7O+NPxmrDAMH+L3roqoHFq21axswidOz6KnY0HJucnHV7KMQtSSMCVNjLLYCuf0H+JRYW+ZtJ/HMLn/1+AibiaB0WuDDU//KvticVht9fLUJ07vbTfbqRgGuve1gFg3EAmgmjTPzbIMl6Bviw4Yv8LAsSwxD7iKyjQ8SyF20rKy3AcK8xGL8V0sbp47vxzqGxJGyu3DGSsDLwAySivMcn+bgmuo8pXOG7m/OREsEYCQlUjFuNSCEv2o+u7WKadDTthGhRwwHsyHzbtFMbco12pjIA75mOCRxBQxx+FGAWwAgPSthnQUsqBj7Al6vJVfGTirWkSHd6+XxusXvwUNeC3l0z/Xzly2Gcy8aFQTZOTLJwDKQiob66JEHdwMjhKWru7ugdXg/w3YZMU4/QVSHITdg0+vf3nU1vz5VFSOOM+c68m0OjiEVtitWV+nUfgwBexIzA/TtR2OGTfs7GPjFO1wdlICZ3mkJS3WpGA1Rup8p/eoBNJh8yTsJ6HZX70Oaz9RXAbSUTY31SnjoBGCHNpEZXkEjIcsdiwh43eeUhv2jt/wW6SkBCnbgw6XLWfKM4GYGIyTYRXMUx4Dq43fl9DzjPjcQWXNSpVqhUBrolLHiF9gnfKBoPrEdHjPbQfTfoDebYcUuj9fsuInf/ME9yuiVrzheEDxPZKst/cLKo50s+hOvLWqk1mwKQt4Fb0uluQeqhjz+5aLcruIMLS1T9As8nLcr3w9+yEjsac06moTWTrl4bLoBr4rvVNKMZg6ezVZK6Ds92Y56XvzUxu0p2nyvTmIqAqrEwNTj/Umz8z8MKkykNYEJxSL50ihR3U//hxAr8wLMgNz7v5l0WXpk1wqIV4LnyjfpIit3hnt4l8M/ZPyGwq0O/X0OCLGYwuVHSFuK0Pvx1QRWD9rKqycnr8IMlhezmbvcFOqQbgqF3jVJDBfkK80FCtvJkuhsTMwYddf2rrglNmO56WeFBV0qjSvliVKVe8qfjt+YirNzwJGj86tOJPQK0lI/D4lIcsceGOBqllqLtjXVL92LppVtHD1k8K1bVRM8CRWqqH6EPZcNyaaAaOLDoXjB5LFCT4Ffv1wYlyWwY2hfQuXKK8wxa8a5OOVJ9lIq0YOezeGY+Oy0slZryGxvUaIaN7DUwKE5ESyXjrvn5jrjvjsoFme2QgHF5UjkzYWIHdg+KXmda00ntqJGRrY5/s0NKWrED5NTLmWYIdLrAdvmywBW4PsU0e1jCtGQ6LoDgtHKue8ommJ+pOQ6UcpLbxGyR0VVE2l60y6SnZyHFnTsFKkdrrk81+fwF7nHiYzzRwjYAWofWiU2xj/TvgCiuCGCdG4FHr8QI2PIJ2vOzgcxtwMq7yboG/Dp98zhs2/mOso3qzP1onyfQ1ztiscWEdizl3T+e305kK1FRgdRj2otvd8+UPygWb/nkyYtyRKHrHtEov/NwAbe0O2H09FQiwMGsAj+wmbMCClnX8yHGVwm1QsR8ALcfnwpPN91iDWjxIw5vl8P5my4J0Ing/ha6Hf7ffx47oh08e98iYCj48NhNb+FYKgRrioZid/IMPpWaiZZGPSfPbpeNepXAGBt1+8UHtLZ9KnDcpu290RihBHaCxrMDe9mYk3S1gWsH0ZD+/8icqOUpCSjQFAa5wX0V/2tYU/t82XAhb/+nabrHnk1ATxJGm/UpxE3njIYHN3n0n4rHbNzH5X/ttiPEG1CMwLU4eN2BzFXrHPSAJ4Z43jBwoAgXdBJu/BZxk6gOJPJWWfgUezG2sTuNC3Bxd+NjP8r6SHabHq1C+NcRtHQp3tkYdmJj/WmclluUgP1+IADau6DZWxJIUcAMGnOvrADaauQxEEOIl46a3ZR+2dl5a5zbK/E4vlFf4alO4VbKDkwWx3Dvdyv12i5J/YJ/hUlVjndCV50xHoooY5dd1alBeOJhuFROArNbIzdaKjx5p418abtnm3bCH/hVYt7Oel4q3mJVTMqXl5q95GqBXlUgCcy19CcaldnD5bNvn/kbBLvkQ4dErKTvRSzQGPlCRgy6XSJlErwgvXM2i3QRNZgDqpo0zg1wv62OD1eJJfoK4NabOKuAvRvde9KhwVqvLm/pnfx4LuN+Q7++5yntzkLhbLVgJUaf+FFGnwunn2jvIDlIGmVxR/iirna7biO4iQ1J+5J5y5puK7c7i+kAjLZ7f7UoubJceXhZMjIZQ8uFeXi2Aq/pRUyjsv9/4ezHVzyAW0w2Pr37C0l+VQxVo4rryaaCFSeZguHYoWeRAyeTB2yzZdfObCa/i2RyM7qu1YW69xRLlTkzdBdilrZ/ZXU3EPtxFDvF2WHK8J9HY9R7d2NIUZO/87l5B6Rb/Yi2kMZnl0V4yXsBxt66hLxaiTGY6SugqvUddWRyy7GpMSbYvVBcLaLNyduXook4b/Kx5qKrCwY/vTmxHb2Bz/AsMEbcKfSwH7sQ5ssZxTHQz8xPZ5RwvKYZn9HG3vWOvcJqD2n+bzM9Z6R7R3DV2cUNywFu8yyk3L3FVxoRqmLJnTDTqcxptRb5P7QOoAEenHFYm4SANRREObTdiBgQjm9XXoDH6JwqDw56yW1aZis+Rg3XOtEyrHHG7HGBktZ/4TbnKqWUc/3T5tele9+Oo5WMcE+hgS2DonvakOrQVpjbA73URLIPGBuNTfYB13aNQawe38sY7SfwIc34SMKY/33GQA2AbsRsVjscQ0Pc1Gf+89K99piyUnwrwfD55d5d11y11xtweowbAO6ViTaLwqkBZFVjafAbpfwEGkjRE2XQhKqUo3dpAEnCIWziVpacBFgAGk5/UiSTVOhScifAsrICoHfSgLCoW+S+vSPgRV3Le9AxuwBsw5ZMnUjs7pTq8uxD1+LepwEQoo/gLgebXQdvQ7N3Fo1A3NXeby9sViHo6DFxIdCreCpkzkB4LKEjYFGHSas9QbEsvjA3k9G+pJIitFzAf6gu9vW3oUeXQJ4IZpynKLoCYtsDkLJiBRTIGy/rEJkHviFnSWHeqqx6bwiSoV8+3oxJrJhdJrXk3t5rk5w9dQUJObiVaJtHY1sK6JVRI/Ky0GNUBYv7ZYtsfoLA6hZfRyeGye1qap8EDG1VcNj0CLXJax/lYHYEftBZ+hyS9cTIimyHUt/5cSq2onXkts6tc1kFHrAXzjsPxeygNuNs7KZSg0gOWuTqiOeKuVh5Bov4vcq+nqYfc2K/JjMnaMa9ly9346qMrNsXkJO/EUDszpaiHyMQykrSSZFNFAEsJJE0du500jy+S55riwsosev5gy/WFHkfqVEidUi/QA7mTYPZ7fn2w8yXSl27jxLXFGPZLGXt1mlX/biJbATT3/JWzDE+IhIBq+68mf9ZeAaP3Vh1xFl0gy83E0cQiTPIlSmx2SeOOAjqSE+6xCythQxtV6CmuvTGA2/hPxxZ0WAzvWv56a9mxUp0E4J92vfg6hhx8PRamgfsZtxRJhi16I3jcZNbTsmq7Jg3Qu9qKYSdBFNPxZX9qci8MlzDLed9oJL8bFjJZp5K2J1o0z4sOkRT01oKQ2cnq0VMm7VoZCPgIMAMPfDEWJkFQFjpc1rFFJllTm03SIGfTQPSAZ6BKfYLnGFsGpiUQcu6dsE0ga1fBtjdOaInZRuOP2gYH3snlsaWhiIq7Kx+ZTHi8CrWy2qTaOFoz+8RqNK8WKqCFvqqBixUz0N5UmZPtzV/97Me7O7RU+IG6LWSf/V6hDkVtLwOn8LnfeOgQUX7tXIF74emJXbBkgzZgBqntdseVZ/a+RP3NHzUnQCP26wf0phWDi60xyEl4RlDkJNFZJGprwhr2aWKs6mVMo3I4mgw4Ut1SqD42bbJabvExyNcBzUznTGuMOtnFrB0YgKUSFNxR2xQsuw8NutllMD1KtYmCZ7sLUvZoqE1KoPF7QvcQ7JFKbum7NdN4zQ2i1mo1cUAVMIE1P+Ft5S8K2i1gIgo8aC+usIOp8UAKw8VOmsz9N+vb5qy6wFnKUmN1zy9RrhG80CE1PpZZRYiptkNf/1Erir2bh6gCnrNGBdTLu4QV36a3ES4JBpYdPuLm5W0Dhoewt/GVAIL898LzdXkzM9RANhbHyCwaA4Jw+81IHuzuXNrzPg56/nBwDypvJMKjcXa78NxecETWxwOxfEHVZa74E3N78hRgJsAWXYjyXNWVfkTneKDLW012/Tfi1MOg9YG/nLGiTL6UifnIe+q020biA9XOcw6NcV6o3XUaEmQLgRHiqlZjSKDVrOZ89EfapwNNQdH5hYBwcpFYv0NI4CKpS0eWVRHReUByJFbdWg+n6GTeL+P/2UYSYtUfXYlOHwIc96zycaRpMrnIQ62qwcpvvSUgFXsuLP4FeqLeaZ1gfRD3u0yybxA0dkWsM2G4bU0+aOExuJQUzSLn/Llqo6u3UQFdA7ZjCoD3lZYo0ud/d/H2AtGx5WaVvFYNEffkJ5vQVCF+koBBWN+8UnlT0+OECISj/Jy0nMOwUICm98UAFhzcLPimeaANxnVZUzkEIUim3zKj81pmKV/tSXdQliPGFN+0DAZjStSwV+Pvi5MxOKhaxaGsA7ZXrMRdNDhzgPfCusa/eVb7CHBPVPRm16bPlhy+GiXJhpNrv64pXHSrPG+FG+r08NaHRTXf3rfSpnKGIi6UGZaeuMqi+G9SVo+zPLCZs/LdCgDtmUZBS8L5kzzMjuIYv+FL5xCRXm5Nr4ERQQwJoMY10SCr18tF0gxWhd8QM73rvWsjCOvC5FXb+T7vqJyWDlVOpWENDddmFVjDzJnTn7WhnnnOA5ddzxltJqp/X1BmuzlCyVEH+fo6F+E+qsJyHNYhB65OaOR424P1Wac1Rasi/vsct1dfqOsaMXwSxnqJAcJikpNbd7aNRc9cfHqS5udiojGXeKaw6uUKPmPcWufFeEfIFLdmY40RLfC+McmYvGtbxVkCHdktSVPGuiE9SfsJ97V4JRft2nYUgqGADzBcmXjkvQHzC1fPWJTnb1Gn+DpiaTHc38ZxYbbUto6plxN9yI75BPkQFV22q4r7BqqRAll++6LM8d86/WITPUd6+zc3yHvL88sDtWoPXzy9c2NGpEAHsUiMv4Wht5CKtsfNWmRmcTNoTpnsbnmz4r9MeDZi0yrWXJh7U3JpWSGLx+d5d6CBo6oftIvl0mNf6+ev773XNXlJyllZos/UjzGhibvzpcau2ozPPHnotZAwvaXdMg0PlSeTh92x0tAzqL+lyoEIFn5dtyeYM/U92FqEqkeR5fqdm5Ga2QXKIF5ESkj0U1kKNectQF8w8N/P/sjWuFg+mF3Zhm+jtkqKKbNbj9nygHOP7l0kBEXzp/hRFPQyqWWEcdaaSkYxfegceOZNXiGIm6qR9Tjjoz6e4SG21iC6aFEolGvJPpYunb8lz/lDonhjvyiFYDx1zcd0/A7xUfO0wd5jNefkCSk7w8PdsDfUj97lmiWlv+NQAjlAXIVPdZ0QW05mLwk6IN2F5DUsYg9Y/IYUhUauU1wyr8jx0lieMOV2KIw6vYwxw+BKXxCm83bQCQ3jonVWzsDLgpBXNe8PksEEngARVEHm/+yKvfcr8QOCzk1jJMAH/UmPfnbbsXSIO6cNlQ3buNFqB9hKOtWveckp/6aGnSK98Nj/tyM8oqeUnNAdO2MpKGWvGNY/2JpiqWn20tCHvB/deXfXhLQ9LwrczLcq8MDUKvYgcQquFxYHcfL2Ibawn83CSiRqE5TxoMDqKrOrMvia8V0arqCATyMlucHTqxzAjCiSWKozyVsOJO/upy/zl/k7I1UqsSvr3dQCHW3oyvF6RfmBxv+Ww+2OyUNM8jSCm1SOS1ZlGQZptjUWb939SPeXsboo1lLs1tWMwKQgrNvKzTE6XjX5DRXLSXi9DFcMsD+oiBsUFWPvytDTZjH3s3hMBPR9laqjybGaUGPorY0hYS0U6euhmEa/CW3+hOojeH4ahVlIzUNtw5LUcTpsgS/A3aMzLGMIMtjv7gqcOjgnM/yhKCAIrsa069nEWLfhQEmhh9/LYM1kr6cHgWmH8oqZMjik8NLT9vvcdqOB2XY4zhgT1zb27vWvqYY0ofRaIgj+7VYPLNmMdL5npqV8GTC9JxqyIUxrz+teogDpPmkCV4HWgSFyK7Ghta0pBEopCmn0RBtu8NXrOsweJrJcfNreDYW5ROhj7UM7wjo2viueAttJG8dSSwsRhIRvWv3FVj/yfWTgbAHSycQUDKDLUvjZ+l4mkJi0t0kO+AN59bJf4Lx/hKEt8nA4Dp7uaataaWQSEYg3zhtiLtQC9xo1s7UHe5/x0+SgLBQv8u6zciWIIVekQd9yZIr15tYz/0trM7CnI6mKwYENauKmLi1icEf8NiJ8TksDnpJvtmKR/DQAGxUfni7Ti9O2AEy8/17UlVQcbIp3rmT+isceN1ebBM4f1sra3nByYM9iccQKtY+DdBs9lGps0Ie7sWCUvTF2rkGnQnAy9Zz0LY7UtIXh/VJL5I+7qw40BwQ+HS+svtP2JvY4wOLOD290756z3QcqJhfi48WFzHt5V3pM6d6OG8gTYFThkO91QhcU2OBU7Ug50B/jxDaMU0qAkeQTN5PrBT6alcZ7tAzoD6EqriVxxf0sWl4RCy0uVP5WHtE5Pf/UJDdLAIpicVExPTCdi7ZFTrzCkPs89tcNe2kUnmFW7dk9d7ab18iEFqCveAdfBY9j0kKXxi4G+QUzxhlqTiVQyTEWmy2CnGhiOWJ/DgixmSUZu/U9ot+XcWqIAB9Ts5Nf/x1+0Jl8vztSzkOjewgqHDWfbPsR47Qq5eqElC84hQwFTgb2UJ7t0ZLKVCP/SUD7lpccfYmeHDNciHp0jZZ8QECAQGZERH9R0eEZZ2LXJpV/4XrydgP/HZUzeX4rQOuAPW1zhK8z7nKb/Ih72tGoxnqFg3vjheYW1AjlENDtv8UmUXVc78DAO/tQ0m4i2pCtIeB99Q/tX8izYWvJBmIQtPz2cFU+GyrV+VunVnzWxKXFPlZxb0ljF1g9Axf6FiiB8cT1qXAeUZGLxVGM31Ro8POjRTaZneqnKTVSJ8l9EW+mYGqqTvKQmYf3cOVaBlJNVwd0SWbP0H3HI3YA8oLB1ERAAUW4d67M8FwAGj5IW50F8k3d4J8Kmz+CPMDmohbYKTsN16haxYqR9Vf0TaVoKqP9LYCzL49qdDdzN4nkTeDbKmu+3Jh9qioezAtkL+rDiwnzac3QdLBY7SNx5hqCYWyBakC2oiXiMVGIrSYisO8fi/ACZFEmW2jXYyJaecrd5QtQq9+qEPJDgKGZYufRF2z8ICmO0/FgZnxEcoIEr3abSwaDrNPQ3Pqo4p0lt47U7+z4JpJbyKHmgZhpwSt8hvcuJ5S6DyQ6jxk0rLr8+FgDVvPWToB8hceUWwAZq9gKkF/ygGCBNY23Orl2TOayjGDHc19bUbvPNuQnGoOEPMptdrDGpMXul1CXNgqbF8vSqCVxGiSkVMTPOAL8OA3PkXlaubooN214v2ov4N+cwnFQYyEVGdhLaFhsuXAgd+a2Zoe/P7C7Lp8Cka6LAuahebVMVmGH8ge/RI6ByyjsrArrI7OTHtV7MdkE5IEa3+ONFFqmxmYVnW3XhrmOEJ6OrvkMAzWRdZ60Ro96c/+7Fkf5GxFxZB6QS2IzTpiud+2NUVaY22ndxOQFI2DRGHuJ7pO/pFhwIeR7LiDGeRw//H/UdR62yQ9EJO33wCzNuWW0pfmgf57mXFXFpwKha0ZyicVfrRHlSAvz/0tABFKuzFMFK1QvTzw8iP0HV+yeWNTtWLHz1Tw13nQCt2y0yT58xZCnxa7SzP7LMGZABe5kuFAco6vJno7SxtM8FuniplKRHo9XL6VF1GaTXWGOK9TlolKycjFwIDV6tQLYlGMm1TCv7dBzpbh6H6AbCWh3wk5bCRK7WdhcMhk/vy4NkYi1cyRlJZqczccOr5+PFnOVwKuFinKJkx/VIES7jv7OcMDMp4SVZ2yiVOZKC5MovALNkJIMNB2hWouoOVIsLKqH/BhYkzSYSwRAJIG8OgeTGPDeAyrvh+szoJ77l9w60OEUO/5cGCqU+7eCHceiFgIL2auHWfbbMP6EcXEiYUNtX7Pa6nZxaounAkB5IxAslR//HkVMlsnU8WeJISOTsVOZTpNcnqaN9bjO1YD0vVeP0UpYgcE7y4oEoYmK1s35QEnnrQQmP8U5LDb5xVyGJth8V5D5awvXZCcUvA4hIO5hNNGZjqgUhuA5WSsdv1eEhJAimw0C+IY7QZzC//sZeTDJkx5v7MMf8YCjcVWKdz/XhF3VdQTIGmdcp4uiXx2/FgvQhXGPrNisc5x1EN05gTy+P7Oe3PmGG+NceLO5JubC1O7mOrkfJfHF+fvAX7OjOfiGmlberq2lHWX9/YEPGcGuZkW7T4kHgSHzU7t7wxExL6p1UCz5YDVytIR9sQ1QkRJ4JevV7srJZ3ny07TmhvbrifeIL1n8LKuUo2qdVChLIO3AeKQ/8mAr4D+cjuRRYneGUgOVY/AUpmXExRHB+3ovaIZRBRHYkK+6SvYcy0Ukj6ERQ1ZojOevSNyUOOOxPnlKnCDW7IqZljmbq7B3cepXV4v/IGsOexkVKquS/0Oz2oK2ATUaxLcJGzbZGqGNqU/Yz4AEk4NdXLq5yD+DdyLZzFozEjjKBPXwaZ7lIXNMW6r4f2cOuhjPFl7GSO2ClpADnqU1XGIv8wmS0uhGaXwFAeF4qpXzmaYXQjMyJ7S2HvRMUhcEvGOStbACna/1QG4ubvMNSlm35/4ek8526iX4W3ROK/aCxRmZ+uVur7VvCDIjQ9ke9YImV3rtlPosRleIVTct67SYcDg/fqU4Di2SeYDuSALS8yTWMdRNOhHiwErBAREeyq6QC3imD/TD9Q9ywJ0YDu+/Ngj777trWV6Z8ZmT/ONvXUN88iESSSNTLbBw5vUNRBgBVL6pZ53hfJkkbNGuxeHSjxcjMYQHWJMiqiNQjM1X1OsaVJ8/b5yEWTYloxos9oVNrjoRyQhtVI0rMecj14EukhOWnuNkjNOw0CZrB3tcwrMxrqtpmCrfslXEoH9Fcpf8Pa/wx2Lzhr1QkpjIMVtHYGZR4pzMfEOJ/2y3avvOtGQ1H6b5XYw8nF60Pu3rClfya7hyy5OTvzRP2GL9lHY7y612jaRtyWDCf/bzBReObBaE+iVsCxPK4AycC2zdeGzbJWN8/CaKfPyuCETM+qSl5k868Vas9aLozRhfgrfE5U/hAtGxCWlgfYIC8bgkjp5pYvfs0/DGmo/xgq59K4MmG+axsRu8R8aThlfWNUkpE/rxBkJH5I4nNj6DSKaxxcl4gXoazN/x+DN2PIh/a5xeBpZza/36jQJBX9xoFU2RSGZKPVfLq+jlX107sze9TTB4/gVjOMH7pR7/KkRC7Fye6Av2qr/1LjKQYymqAH5vG3SSGhXn+xb/ibiT4woVxmiZkO6RKv0+sFwl11NdftOQj26RhC0HDL5M0Xu6vsnfDC+vYlGIwIlrAqaLx+SFlJbSVcz+DFBfcsHiLnsi4EsTmfHwV4vNG0ubE9B9puaAI1Irc5LeasAauPcbZ4gELOcVrxs7ZzbROjZ1Vwe63nCpeRZxOpLusum8WEQrUbdCLjd392qnbxEtkHzBaUvxzmfNxsFUwvBwwc01OxhML2BuJUl3pbLL8+ASDHG8dnFc0eEyITLudGuep4zVvnfXj8gRYS2B2iSPDwXwWxuHymkUVd3ogrgIVh2bTw02b0PfDS+JzTOsRnRZ4usCqg+l55CiHsQiH50YIEH7mwl3QiPM/sEerM4j3jArMtHmTc5r33C3ehnLZ9uqDGJli2zZOIQe8Eip+KbA7HkuPzs7jN+NiU96xPnpqKKm/5QsSaOoYaz8iT/NAWM1l+LOqb/XHAwZ0J9bO/VYQekD0uV1NQ/ZLjFawnE+kcrX6yWfi1j3SVaGUINx+mXcnl1NsPUA57qP9kRAV32Jdb1CCOcfvxt02YOU8W+tgn/XppsJlf4EUVzShsfOS+IYUC4W13RtmlwK6BRB7Qvjk31gmzG+tcn3c14CSbeETud/DWUb+kPYm70SEhTIglj8Por0VKCWsW7IKVfpq6ZsiibbfwS9CFjEmDw5+aPrgvG7E/31OZ4yIOanPrLRFlygLT6WIDdA8mMoIpq/zl1bNNy6aib7Nb8ktz86dIgPZhIxgaadK9Cw/s7S1qedUzXmQ8IYa4PeJSF2iJxmh0uAs8VisDdjQdR6aNNZ0SvOb1Ucg5/u/T/iPy5M1rMTwWJN/hKuISSuNX7d9v1EPvH/ofmQAfN4yy4YSgecFmbmkWuc4q+ytJWciZ4eBEGzmkOp1AMVc+sYMJtOLJ4LrjAJvbj7SQvXOzrbUO/lzZ75qC40HZgQmM4wGN457favP1mZAwBTE653EopBhRT/V9RJx8k5s08C4VXEDHVxs6Ve3IHs4m3LOvKNQoKMUBc0bc8xWKpzU5kDg4YS5n/8srNqfdjjARXRljmcS5cItjK/ynws4x9EUmxQ1fVSaoE7uGiA71nEwMkk2DWAUafpoa9cAF3Hvc5HFq4hPq7CR06lxHeZl6DWHT5ZF1efOheplxcn0qBqlyqN991RT3Ow1k9D29Zr3Ng763fOHhHe3H1obQNdDGITjMpi+nPAdG5wptJH4Ep+cwS8SZKQD3l2XKGDaMPK/nruMmTixQwLxRfeATWRSS31j08iCgyr5Rrhm1I4ykNoz1ORUe7vhzHJtRLyyqW2m7TuWIAB51j2VGRpT9Pqf8I7mLIGDjI5NIOw9/9/zhAbKNZ3mhsSM/usyREFgqC8eJfIoJbgbWMVtGzT/57LmWybXtUKN8gUVOdPKp+VuerN6jnbZ/xdXHfgfdvTMddERFZ5gcg2cfq7lPxo4XYji/B1yL1g5z1V3Xv6akzMwtCUFjBmrgfH7a6G9z1AeNXVHbBF8sYZUSQfr2ViWkheQmvwBC+hEsCLXCZtp910R5qhId6QEr4VXoglHAFuFvnVLpWUwV4g05Hf+TWBnjLdcvML5u0sSm4ug2Sk29p/g+w00eVlG4ZnCzEZCP5Sp/IZbO5DlOLDbcvhbVtYcLOcXUiGak+bhW+KM3/qGmOnD983a5ewpAFHY99artDG1RdpRTXvLi3mI6MYsPVWiFCc3wORuUn3h2S6q69c55ylHkijSvjA5shioHMcYjJwkA4rjIgtVVRUkTnRN3ZvMVKozyT5f4yHmyf7juZCvn4FX4MbbRDvQcVUzUvDTyBYnn7YjYDDSFyTwYMt78YK0ikb4o2a913MDM8vhqfZqd1LV45Omkl5UucLi4gtHqBPQjhSfSzYF20+aLnwlH301kkZRZ7ZIVDWVMfyt+UhjerBswDD01nyVpAybxoPI7a8/jdYZ0y1bkBopqVAGA+OP5ZoI0AyHDPGcMGA5qKc6R4fbVtiJOaiqhwuEVaf1l33a0bI1oIvI9HRNZxCmCAESvrlJSCiCi+F/d0zndJp6DrkdFgxoRnHKul3bDTgjwA9l3NZRsHHSymcfg9aMhAwzj+eCgPGEW+nuyUtXd7Q4q7zJFp9U4WNjkwBAeIg6Pk2uRzIehN1Z90g565fc0jjuHkT1Ic133OiTA/3s355fOdSqFZ3mUP1m3euB1fZq0OwaUuN5KALLwFZYzVcIu+wpkeAKygr9oY0v+M9Ggk1D57XjE9UnTPi01oSyM24k5CVU2j6YDugWRe/uUGet8QVMLC95QOOoUcEPSR9Dsil+w+T2YszYsw5INAad3aOScHcu/3BzVaay6rT3aXP1Xs+grstF17dAtVTm9o5C2kQxEvThF/NQyPNOeSsdaMfvFihgqPLnGR3Tw+UsS93E295l9Bvbqa8n+ja14jxXAz5yLj0T8bOzY3l3B6025grJ+UtnvOEAQvcnF1EtB3HfXoJXKSBkgOIzSQvkfYyh0L+7xMUpFawAdtMCWwz7Ttunx8nIt6T1PuqBfU6SLwQCGOea+pQ8QNI5RlVIqumQqeGBdqMjI/g5DjCcfRMvn5G8MXf+YbyNw4NXKyqkMIwdqNz5q98JdeDmBhrah17c4Mfuao2VQHP3HIvMjjxFLCPrWMFKTtygq0y+NSCSht8EG21rd9RuwX8nm9heoGlrQR/kZ5oh0/Q168/lFZ6YLjEpvhdWUPr7DH0pXn6QD4VmGPseRZEz2ut+5NCzs2A4MLW2BfTZuwZHJQ4AxO+e6Hny63gAAstmh7cXgmf7p2D/DVVTvqZWGXLVHpPBxPHeARSZ++RPxTocBwwqWcEboTQm22R6F5MYm0QlNMsSIyVyq0XgSxTvIQCzV6+TxNFX90BZquaxL/7oiqmWrA8ayRBfS8edlbH3Qggz5gJVmSbykDOok6kTmGSxSoU/fkNXuzWCewrmPy0iqfparc4+7LdP6zNe5AXwlzepHxVG8Nid72oWc01VOoKcBmu7werlA8rakvqcw7cVd8F8pQb/kSXoxUlc2ww3aSFCy9PC4fdcMwNDENLe4C1pd2VAqg2LssizTIrRrzBCjnWWD7geoxL5puNS4I0KVrEewN59IpP3n4+e+4ZaioRgxEv5Cx9hjcY233dE/A/AnVo3xF6AKlDSkWVX+uGHwDcAnWq9T431h5G83nboU5eVonwAt39ajpyr7j7V/AeXbgv+gc9AoTQmKntU3oZNuxI0N+qYyRxcpV55y0PU+MtrVJohzLI0Uo/I2h0UdumezA2nbFKAq3ArroAZQRryEWtmc5r1aP9Xm9OjK/CYQKvp9SiPtMyqCnlG3wjSAnaf3+lFGXgn2kmk+A6nVzw41KjmU0t8+NpcikeQEeda9NZQpXzKnYiZPPjBuy264sMPM54jCYAct5OqW6xuY6d3rPmX892Aic1kW5BLaxn9M2dkxqvyAL6TxqGJiPMDH//oAH/edicmtmViC928AwwZRHtf8QCwpMTKntlwG2SCRzeWqGVsruc7Wzowjy9ZtsH0tux6s+CBwC9y+pzYteVwlryOgcQ8cQDyKsH3ZTrIM6PIlERLb0MDwmnjxbt+PtzCkNTSoOK3gUPhdK9YNjeMO4ReSkKl/kWKEZDAB0bJerMkERGnl/mKGH9fbRhdU3zBmGa8emIhuHHHu1oAwd/ve78w3m9asz2Pksufz1POGq/fgYgQEwenZJ1UDp+08jqAmqScRB1bUdc27G/r8zHSziP5rdAECixHcYmiRtbY2F5asnelRePyVo7Ks2hiPVUbKDIJXqOsD0oaZ0pJHA8KG6W6NLmA3QXKWEOCcD7FVn5mZ5vGI/JHuLQ3byfqht6OWBtxGiguGQBvSwHTRM0QB1WQfAzxaFBDVeCSJZuyxe79QmH+awYdIxdxAOAEJJVJ1o3TECZ3nmsYOCb9I7HtE9WqPmQu9/ih/8+UXLKB68FqV2eUmuimWyacp52Rs/YsKJknf2B8SX8lACQDvHk6Uag1pM5y4/BykZcgqDRsXIxq2r4mn6JGhDkwNXnAX6zKjFrB7WClezyGeQUH/KPcN+cjUx5om+exzmLEucMtDaN56Ypd+uSZdy38JKPlA18w4OQOSWaJuj0Y576OtdOiPXx1+yvWOURZ3PT7egAY3xmWzgWfBFI0EyTCkQQ6KNoS2jJ1lV3emu3cfEm9wRF/5x4vR4vVeNTzdMSDzng0VM/z1BK49yoBZG4128NIz6sJgIoRLqZHk6yOmJkvvucHj12F2ob0g86iRmlu8Ygx7AgAb6KEl6w7JNkfSzFrA/CyKvTBD6rQDKmirobf0SMHfwH62g5X4teII+l3tWK/JJnk2ETwmwZjibly06r6Kiy6uMCZe8uSvvoSD4YmJ89j892aPaP3ORMN9RMMUfnLtXIYydsvMP9FV0pdRfG8/NDfgwpnbYmhZCaKW71Z8RBYWKNK5kNBBvshCL38ouZHg7wV2mgO6wciYwyZstnkoEnynwpYGOhQwcljoJds93ac8DJlgMZvsqKYIv6hR0Ncrvou2C/jX58tj8mJ1goyOEp8ks2YFnLTCVd5RP8LzOiMA0K/Esm9GS0u6RmD07vl94Ja8xXMi6dw+6t497ndogvmpOVOiHOmriaqxsCdKKk2AhCYE9KqJ6YrevEnNA0WldRmOK2BSxbvrdzXxAOd8foz82AEOmAt6BYrMLzM2xJe+Ao+cTy2ZgGC4bsZhIItr5TdbxRCkmtaszz9vxloK5gmVnpAAX9l3AAxV00dLfgnuv2mqm1EicQ375S4IXcwlq+KHWJCfjsJhSN79BpvZ7WRmUTDYweK49VTqQHbIgkt2f3aDcl6LMHPQr2soM4Z7fGz5Xd4u/rFHhNps7srpDvCL0s1uMtjqirJQ61XQjslOrRN7zhrMXWXtS3Fh1P9xC8G0JFAyaalJ1l1zyZPnzluG+xQgesBu/9/0u/Hi48qfM0+d/xPxlOKiuXyk7wg78aUtKRHm23hYGnzvsldJwMr7BwzD7OUcOKfn6aSIXjbhe2EQ/CMETcvr3+VzFb7bVG2GG0r764d6kQJhA5z8ygiwNPrNSVKWq86OfA9bcJ/oz2lzOj8VvyOmXBYoFA8F6alpescuwcUHGDnODApUeIzSpZhvH3es/JK4Jr0A7u8fIiJ+bCuN7f6lWDjUEw5k1Pzdqq/LoSG7DKNgekGA7tOG5tZ7/25JK4NW+48u+5r2jDn/Eel7lbnGrylXe9MK7h2f/hcZMpNi8aNp3YRWukWtckRJTtEMVWHeqKkUT9I7PRkhsjdf4J9IpPaK5tleKaIW50v7wzK8vkozDRRjdNpZd1bCxq6BUzR3to9ynWC7AGCBW+APu3zsw6h0cQ5g1nWV5qAx/hoDTGxP9QpRXCNh0JGj9t0r+WDYGtUB9+Y2qDqZNHTg3GKw7XfIrpld9LMDal9+/J0qRYP/eBjWB9eOxFxKgDDWmjBjihfQy4tEDttX/DuD6a6o9hRWtIm3CvmFbagX2IhHKk11p1PgvJz6kxeEXxCpkbcD6/uP97WH6yDvDyiXV9gErAkXgRB6HiMJdD07vmcMqpplwqlRj8EXNfsw8MVwa5gfEOu0bb1N/caBwozg9mhWtTcmdBKiQb6AGLbGe9DAfL/BodjdjuJMMGVBPVLTuiTMxOq7jY7CGVGpcCsLGGMJhoVvHKuy/jv0/OrV6D+P5TK5KVTFHj3Weo4/36hIO1f0C5KokVB0XuVHlbo0n58+RRd5o7j6mF0A/SywQOAZGRG4qp0rXO9AZ9mfyfIp4E0UBE428kXDhYm/6TBupNt/2xdnFghLXRVMN5yauPqM0eENoVA7RnVO3VxI2SQlPrtSeF6ieIstbpiirCTLcgrYlpklHCtkhb+AoB3Ch5d9WUiDSshPibSQriDFyQpCPM6DcG9tQC3d7jsMEI1/5pChv0DxLZ6u1EY6FtESxbnoWDIt0kw1nkdz/ilXGhh81wGw1Pf0orIvkFBvGYli09K0wfQHTSC7SM1R+6sRtf3AnjlOFvp5LcczFc9mQ68jwvQVrs5P9f8gf2g7+hshlJBxmDbd49d2qNM59sLENOhmeeK6QAyPn93GAqDSCUnwAx/Nx04YihK6ugBe6Q2QrYDS+xgmUBL3ogIjFnfI87K1SLhRU162b8S93JYp6VU++Ju9k55iAGbaW96wcVi2ku2N2EIiPGsCeA9rP0yL7SGsTxceCr1uG1z2oiMAObESherPQ0b9HpqWD6b8Pn6mxRcShvtW+M27Loe0qklk1pSbPzWu620PENRwtBsUQRLaseIPjgK2expqf9w/f7hrdrUEYQecE2+B5t+fn2G6dB3L2lbF9mqK8cFfsqBcGJXHe3RKMsu73ZV5LeCYONCxLfOOyNPNPujIYpARyaHwR3nYDET+MZXboAN/q3xaPf8NWnsWWSW5+1iQDjtzuviQmGFVfH7weMCIwDbUsCGdkGvNrIW+8sVbneOBXWJyUyfg0FE4xMK641RkG1rhvgvEoLTMHLOnAvtVT6n3wKuhLiFjjPS1bhgQxsAZmAKIstN3QKhrugoYEcFew4z9kjMI7i5xSPzp4VoqkDlzYpMvVk7Ee1u64OMQGRjv+groSZoTV0XIUOOf9BfgZlMSdBR+1lf5rLsUIbTGkNjqB4gTV1CmGNfR5hTAUBXhem6whVcUpiWi/uUPCt3T1mgNBEXAVMcmFrEmC2yuqh3lcf1zjuI8o2KP/NeFUuOepk9rZuuX21AVryHlY09BPfmTP0CF2hMu2xIORcaPpVD3BGoChVIa4xR+eJtMGcZRg1XhoqNwd7lnUHdKNRfYyFdnxvWltJgEyg2K8bmWfiJaHcnUNdD5ayOawOjOVLR+YGgcw90JTtouFPSf/iB5Ue5c3PjO23MjoXaPQ+NnwHenRKd1j9fNkIqjeOabT5XsWvR/EBJzpEvgIJKVbZugi9ZUw9NfscbVIihuCoG+nujO7czFer1M96iH/Z9yMz0oQD5w0exnKaHoGsL9HymoO0W+UF29giizBy2fIcw0SaHiZ3kvdFu/OiX3Ncdw2YOAmLVImlV4aD906kTLN3eUqoGpMhbMshIVeo6l0xX1kOYQJlbsEntb37RaNrlgUuVNUbmxuNDrh6TfdlOFoAUe/m0nUPZs+olUHRbXlRpMcAdzlHnNEvnWHCPdB8OHoFwwLvpjyeSBPmZBqJcGLSQYRSnO0wPfhcZ8SgtD1evwO0kl1KiySNB64QtTvkUIHIj7xS7lTsxNKjjPe8AoPpd8ZMoD000rSL8Qe2oT+tDRTtQaScQIZZ++E2U2Jb4hvuWVTTqUchuicmE2o72APFkSvV91EF+nyHjmoyYsvOSXXp8JlqmleyLc9rG+w9/smCSk7fqloeW1dwcFZzjkJ6Ri0xupyhpc0SfGWolG5qd7CnklY//OdHXLccT5Y48K4zYgEUmVdkRycC+h7rxm57Da/dvwo7y5p/o+Ho7UoQp/EUfAv7dMoUFLryvvKj4QAJh4c7MV3i7zT1qjLgYoGDssbLTaHbtmTimWIHEZxISaqmz8sJ5CF2YSVGr9QEd/K+XOYSg4Uq837zz65v3nFI7xPqceUvFrnoNBObUdeWSVu+6oPVCdxYhkrdgpr33PX/dzrElG+RE4/wTw+SkpStNSJdVNWw2CmifUTeh4b2Ts333uuvdcTDqwgZqub+lZGLSkBTigNTAkE9hW/+VFfk1DfnIqDVvw+qZy4PrhtqTUL2HLPu90HbIYERESJgLUpKmi0SngXmZtuQ6THhKWFb/PJbFhFuf2JFbYKP8PJcTJ3T1b6nPp5OMTS9oEUbim2/6JNafBRC62BiXlh9pc5c1SpXSf2iWi5TYkJAU2Px2OKofkR1QgI/6PdVhU+SCjsPYzVTgmPSgypHyc7LdDw/h37fwo1jx4gxpy7ywHM7FVr02PIXayth+zFn/kFWWVMB+hwyW/3YF4IpLHBulmyaf64UUWD+FnLz40BVF5BTkJIEqjWv1FhFCNkrF309cDrUx9FAp2w3cljZMOoYcbIkI4X6B4Ie9mC86Fsh/CADVcgz0pXysPaqMWmRurH2KtuqWpGjfJtWZ7QtQQ4JWDITY54s4sZrAFTNpKjbn4rFfwWy2T+9YCMZvb0Or6OZyn4D+CAdYKKGo2f9idwsGFngy+t69ZwD1IjzUtTKGZg3Omm6Qj4ax/iKdseNGEjkCBcsuTiFenjan4m3EIBtZlyLhsNBImmHfbDt6b6/balSH1c0UxPZZlecFHxuvMOCbEwr1QEH45C+vgG8x67OgfLCvk95D0osK5dpWxBYx4Yt3Bwxu8dgdNXkxCxTtNy2hId+s9B2lYUgpqHvTzzR9TrcpFA2SKBgMwP2rztqZ73sp/m7iOaKFKjb6uA/C7D9KmwR9eYiD4715j2IX8tNr/Pfi+XNFgHIccE3t5K4pjgLW4oTbOtRixi0ykWp6IMxHBTKyYdaSWjKADj4PC/Ay9WvGnHvYkkx8GAOYT4lH3ZM/EwP7hxq2m8RgQytmyzyAwGU+RVxcTa19Wom2syXqHTI2G6Y97FlIasYxh+bdwFUN/wbVXhSGH+9QOkMzZjcqbywnld/QqI1tFQglgYosAWMX6ysYpzDvg+t13yvtk5kOy47WJHYA+QzhluNT2U5Yl9qOFdhKlKmyzo8HhjW3G1QshHZhqVjImBL9ElYripMHAFyfr9Dwdrtd4l4EeXfKpYFU7tD/7ZAg61lTwZQT+/hH0SSO3+4AxPhYbT0veplXhA6vx39fpyCJV5WFLhxVExgzIe+imUdiTtMwN5rg9zMPFT22HjGtI7L1EQd9pwXaMF1O638jUgVkeORz2YD/q+s6KPTeAJfvSRloc6c0hLOoW9jGsvojyRjifj0nxrbsXJp0q71e8LuNlhl+y8+rm+rBt4VrZ5qttCEZJlaGyCtG4W+AfCpuC63kM6Dt99IsapLFpv5QimGl8j+mdON9C7o5wnIUj+wT6WsM+EjE0HR3udNVGyzz3Xk+5p1XksHNNNuSqmJGLQ1JGIXt5Dk8q1/zSJUTHc5eLm/tHpUO01O2HEIXVXzmDkw4UeQ2b+FmizGkYvCJPlg6vPfTF3qw3+WC7IpNap1gZpr9sbcpixeGVVoLMSHsbAPzFXrNxYS1Au/NK5u4hdfOWqhfDw4pd216COOxR/bDxTWTZ5OeICDPv4WZzFX32/g+Oghe3WOy0Jf2v7mkUXh6ho75dYXrSlNPLydmxi87CFK6YHB/5/xdn2BzpJNn0FRXPTOA3/tm5UWGJQRXjn3J2JD/UfElwdrC6q5wtcTk1yYifRjVDSqmDCZcKamp4CoHMhdkmw/Ivrxx9Hb0MC7Um7CeNKwxcTVJ9x0uWgRX7m2qm49IpAhJrGp7Q37EEJqQsA8oV9Hpu6hRsbZ1Mrk0l8XA8DpPrNrn29o0EFDXHVkX09wIO4v/dw9zFblDCbIakyorldDkAaa64RmNNNB0loqGrBSx/VankceFWtE9iUxtAwJy8MKR/CwG5NT/yWQjqm26GP+eb2A4uKtIqjgS9hohOFB0cvcPjQpQo1rzvfUKJID1coaYQUjVHAbu8Cv1t4GDsWcPNqgP1WdWP2tU/ZqCQ6KiqUfDsSGL6Mo/TEdA+C3ehszuQ5syYsWvoW+rIQjs7Her82Gj3bBrpa9dvfPNMcyQGOOJ1gZsCu/Oz/VGA3p6H/LhTnsrpWdx+VTZq0Y8R+3g5zEZ2JPCoc6eg0VkQHESEghNBDE04cuqGWGw3BNqAh1eI58LiXILhCU+WXsIhy7olrurnK4z20FKzk59IsOrWiGVAzjxMo3gp5Zn9oAIg/vthQBOtnXx1b8GR5bVUysw669cwkS2wnWgESYqzkNqZnnV3tLeJeOcMZ8NPpDCW2yOundtWzJY4PzXe7nu4UqTVrxhm1xJOKCuI2TpH1JaBNrxHt/uQmrkbYAtaPGKTzkYgIKT0gNefBntg0Mwj4qyHolR8RYe9AZskblz89D9b80x0ndAeUMWd1jK7AP3FsiE21yLgP3ek9r0XewbBDYMYBbK3iSJoe1/9+Icli2+llBjx/j9OhEJSq/qjOkhmSxU3MryukEoQzsWbG7f+Zl0xZtEbKrWpiRj+8kmCMaTHbryG6dtNLUEFAZTmKWPQcv7nqTmYgfbnUd31+ctDYhye/oNgC9QJL3Ie35h1AUS3cJZkhpySAcSx1i8N9AFX6HfnqAp50rC2ebR2Hk8dgClKzCiPdghslexKOF7GX+HrNvGjPWoiBs2BEFcxQNgEsAOrX/cJTy7riNU1/pvd8Fp2kiO+h6VuZGFltTYn9XqdEd6zbtzrKlRW8eZS+SuuHXFihZAgRARei7UvshpsB47Rt+SKHqeQKmymSILCRq/2P/1YLhgMC/Mo2mqVYoncOv9zqGapJZaC/uQLlN9AOh1DWDpx7az3bHBhc8W1N4btYZM/nWoBZIkfVo4M/0Y3lpqj6TtH+ziDDAy9NtCj+vmTiQVVsfzv/XMl2Q4l1R2rmC8PobdcYcChdgxb90+bQeJiMtNML0pR/9WxMyLrdPTDly+EReqtWLveCcfqH9FQ7kX9tnSxZZNaxPcaP7MXBpAwYMG1QU5WBJuXLDhb2gbqMyIeeVVGHvgz2UEEAaHdIDoQGK/AxdPNItFo8DBLylAJcKnmxojY2OOxlporBwWIdI9bOl3GyM4RrFjcWqWE7Q3nXLhIwyFvkgO+3Q2+tFaymSkR/m56BUVrNVFCCsAMUYT/6JABAGaHPeqkH6zgWQuqJ0TU21rd6lvdaDStgm9Oozm/X9tQB92ttpQFqDyaAuVqz2V2LFg/AxGGczejHo9gSDj1J2m2rYiHiFBp+b+9U9H3lIABFDxuNSYhFsZZUSwH+GvkCLV5b0hflOVm/t9VYIlknIZZQRGbX7ok+L9pcEeHLDi+OkGsYgBLrbsnNYdv+SEHOW3xnxstrTpkq+eoRrYfeS6yGOC2aBKg1g0SHB9hBSAgZ3SMEvUVNfnmg/rQGonvRvrgGhY+Im07dIu7DsHUvPmKFFF6pGgqgaqSKmje/xkhNFE2SDo385x7KypWOYt7lLd4LdUgbCgu4LtxPabVsnVgNgQrvxHmyzbeMBqPGM8176svKFXVScobDwIljxMILq+HVmYptldjbrcyci2wZzVKXBMcUYkbvnLaY7ItIrxpJOFL0B2PKt2Kvlj9ucwRXpCrxSJdfKPHlu5VIjJRhkLkkQNT1sJzUZx3l7Zc1Gii0JCFKNlvAmGhIJsgU54SgkRfOKq0LGZ12Q2uNDDaSwPrUbahzMpkhh7RimZNxwiV/pTIg68GI2VizgK4YdCQTwkdiRvTG7+16CtkwICZlcTsXvzLyzQm6W5BRGvUDi49f9E53ZI6dBnJHf+fpMN+av/QG+6u2vUov+3kfNB8FxBvTIecQXN3C/TunyXKFRDpHcKFSuwuIP5/xfGLQNlNBAXgops6ieW6exGH9sPFzJqfb17WtCmAq11vLcol5i4bNz1beVnUArvR2F0kTTgMsQ920O+ffBsNL8wlfNQmEAkZuFUDA7/AzKPCz2Q0CtruBIKmWwkmyoZzR2lF9JMUgYUN313lFTJLMsD7WG6bqRYiJv7A2U5qHQLjEcZo28StCJPn1uujdJPK/e2beqQY+Iqx+xtazuDOipokRDa+xnmkIvq7AUvcjXEDBMoYAcqLCKmGVvjbs91f6q1MVAtjL+DQodlAT6YYhj5R28w1/lm995XNBD6MEYtIi5LeVecBXAhjaHpCsF6ieoF8XvtJrApxgF3YaNVHtrZzRNebHS85E2wfVeB4XxwDWD3DvuMOspDyhJkzmSrIAmIczaEgau4WvinkM6p+uG91gF8+1vhF+VJ1EUOSnUL0IoJanGMwPCrT4d5OWGsOIqoCNe/1Jm/qS+cF93Sf2Qm1tHtd3kPHOgRk/IWJ+da4PuHTFRuwsS5R4tIrpwcrKKEAa3Ywq4J9AADBfvYsX0t/zQYLoL7KuFJSt22K98pSq2ZQrqN2F0seKZBZi07wM54cElln+QhEgWd2uuqaUIHWLJUTRH78hjDrzkFjpIEWnzM21L6o3vvTqSgXW20eRYEcteptiFiPnvyGgzKfH8jDu7uJwNnHucLn1tElp2e0XbDpvBPFr5HztFwtgLvv3Q0BIscEeupSXJfGEEfipRrHS62W487wL2MKI9bnMH+uwR7Y1tGleNWmpP6j+bDMCz7gQun0PoD4uDOP4cUhx9B2dPl4FOUyQ51A/3c4aZvarrHz3rGvOhzWLkn/1nUTh2/T0P8GNxO1oA8RRuHNgOrqzDhluS2+DB6mQB4Q4KfLE355rdlfP2RSDQ74nzwRHbIl8N1L6ynVf6FJGeDpApyD1xjfWuQYf8ZqU8QdGsGtSRO8RInsPeoTtdxY1+AK6q/+Q0rv0x2qDKAxCY0zINvRDvqxKmEsxFotwK7T3g6OSfePhJfsNKbVDQt9gcYJpIQubp7TXHTvqsuUpY3Oql9BNG5AlxJUVGxPcjKNSt2Drp6T+GbkfI/kQy7SJJnvIIQTLWa/7J5LWjlYHOjl9nzATyHGLKiKGZnu0Y83ifV6g1UjOS5k6uecdWmcpD65m6N7immPSn8KbuqpT8GoWAhMPz6Qt8iZivnnBtScVsgL1DRG9JOyVNlbq6SHn5Sx4Ydx2tr47GFr2+a0OM10KaQLaoy1tgQxybTG81Sk54u8hnqszAhFWs18zqC0DpkunczFzlzI2NncI9hVd43FMi6xDUOnww4S8q0A9K8OeF2LlLZ0OUggf1a7kLpKOq4QFTqKs3bGItXkDaD3KEh1cs32q6N7W3KnlAPJBhfiq1bpLvM2oEOpl3jxsIQLjrloYKZX9crlXNN4UT4ApBNWNBksF7/dKPCLs0T6zEBh/3xx3xUZEV2AWuy49PxK+s1HfWeXU3TQDzhSnRJF/tF3yxrN8RRlu0o3wNCPdggQNFDeNDxVE291GAk3wxsAXYQg1ATEhQD6ZU6Fj1NZx7zbYAj8n8uarPxEvYOg8RsVEwbPrsHnXVOcQ8Ld0o3QWdZDyKSi6o2zaJ/AzMUw7KeqTmajWN1OnLRKAS4sLy8P/MTlgEmLuYR0d4vTHw6JcYIhNWteqEYWD5WOuBAycH7VVtTDQR0pLTYkCOJSiDVqFXkcp6rY0QNVExkAAfm2eicjdrY1cq5Sa2YRz5lj158JC2B0tvz7jTYfD5Sgb4xwO2e8tPGm/B25LIBGbyAJA/ycVhVjKqBHxa4l7KsncJn8/djupXnyq4bQCWiC52POWYVrQxVwtnSrfzyiHRPl6nDgECcjXXnG5AB6DLgqw9b2vo2dJ4mU8W2s9JF8UQG5U44wqphkPEMu11FakOOnLr1UgmmQR0DxO95sQ/N5pw/d+c5JHmxs4dH4ZMxQ1tJ9196cNzi4EocKVZX/55eLdMd7YxF5BPDN8y1wRi6vwjEWwZXawnZSdQEAVQOKniRZ9qtU9wpP0Y21xK4aw3w0NE1wZN4hiwvE7T1WyFLRAurPtRMG1ls+V1T7PwtuDuwoDM0Arp1WtUM7pe02/mGrVkM4k4v2ZiLx6/IIQdkIar8ubWOpMMqaMaXi0j/bQJFBlx5iQUIG8l9mP9CJZ/fXuFv6kEAi5+dfSuwC9OIxBpCjgl9JQUvJQfOCgzwaqejW3IKUJiz4/mAWEfwUsBAyPGmYtsqCMLEE3u6RZUwpp+2dYkjsemzC9jsKq2ScSN7/H+5BvcPI2wFgnk6/IVevEjb1Qou167j/ou5gW2BPqFvb49nZSNEHJCnpJBG/YHFM2AuL8lHFM1Im7JbNI6qzj2LtblUb1su3TmeFiOzlhP9YUbdJS3oMwyOWz4IsFtoC3ODQopUUAEgG5npXV95OZyCMj66C/x2V1bPN5qxGgf4/harVuhKsmw8Pa0Xv3/pnt3eJ39bzygKYc1C78tGn7BQlRnsytB7nxV63qzPLe3ZkksVksFurRr8xYgmOC7Z6ZWFy6MzRgLGC4xIUvRGzsAgbhtLDDS1AUxuurEKb1tnfSm9TM73f4ugQSqSV5Lwc8L7F52nHbq8mAdn5ODrS0vbnMPQsfBk/yhrc/JGyzemZD0UHa5UWcXjSw8dRlq1KkIh/EbhrU7IenZ+TFGvBIiij9VOCYcaeidedXDUi9aK5Euzbjly4wyZNglHZ1893TX8TTXGZV58zvMbM2BLxQUsFrvoRAUCd0l+Y37JcU3HZlg7zGFYRhrs2+iq+DPfovuy/d6G293NjE0L6faT++M1OEogSZ5/NVl1T6ehmyXnLILoDJfzJyU5FUmcPM8xBBVrgEqhAX9ZE3Q9dCUxyn5Caz+k0OA/EPMLgehWvKHzPwjVnu8dU3AapQhqWZbn9hkEFHYKzopfA93I+ESeE6G4glmdSg/8gAhq2hA7R1kvLeLXLf3WPULYyDHEhTrgFYJcbzQHZz0PeQF7LzoWAJWIDyNFzzx9RmOBhJtnANfypIHwuOPl/fF2g3Mh0HLp5fjxYx+pxmhSeBfHbLprPvTUXHaMtJlcT7+Egm0tV0zuV/bava7ca/d4f+arzKw3l812Y3OGLOQzUkEs3ojlVd+6/KeDS0w8axXXSyZpM5DEafFJXWcReGGc+awX4SOhUFEW2V1e3yIF13aZpyqURhDV29+8M87fMF4RNntBnxXUm5BpxAUQpfvHTZcDuHbN71msCjUzP4sp+kzm0IczBnKcpyyTS/WEmwOdfihVlxS2AifJ23X0bqXm97wMf56MBt34TL0cG+JiKCpCgAB279M7PJ7/0o+JFltCXpqFe1tL1AbDQpcw2mVY5Og65hEnQiBk6Sl4FveNU3YIURx/olOcgJY4KKBW0ilGV6bkd3k8V8G76IZVVcEF5c0qNvy5Pnlx5qaod7Izo2kfJ4tSQXCiHbqjtGqMZz+LB4N27GStuf+9NlvHNKR3OE/1yPYrRFdADmKDoM7kv8nqtPIDj1+qQz5Zla7LVd9Zt0UUf5zH4mjnHPnHjEcg1OyFv6rmQPBbftn2hb6opZbJQHXT3qgnqtKjKIC4JKxknG6g45sCSYtbwNnIXGwT2nWyTaOCDiJLeLfn/hNb/iu5klA2H+/nvhg1YoqyJpixdfD6UBdinz0M8cw7UCI9GfcHTBz4N5rftZH/pM8rAQpiv19U+n5xHt1fE+eU4v3uRutk+QAv6RHE23o7icaQm5v3my6ZIeo9RXuInPTRhcBJ+JzfZsRdb5qDfBYevK9kKEqQ8Iz3hZojr1C8CvJfw7KQ1F3jzBATX15Of2xlKE9BLlPIGnOIlurAsB3wk3nYz62sR4t5EFkqaAFUysNBNFdTd2x9dKvsM4TQtIj1MO/XSV2FXrJOt1IRA0+r+79EUfZrpD/+yBsRlmeHhiLmsxmuNW8RLHF3njbXZrTOIZIqJocosm/I4mbYlbbgh8Zxytps508mPrnrReOkZLzAjDlhTjbayA41BUn6CnQ4w6/3IVn1pQbsevytIEpMBfuwbR9in+Tsa/uf3gfeFvF6GNziozLWveMBUXFXCpzCRv/ne5CIZbe9iLr/qNRTuGAUXtqm3FdEbv4H1+2P5RKaveUV/0RkJk7ZMWn40jGNjpCjOSzp/lgfbptPags5wsbIpZqr38X7313ofuaDCzMMDKZApjlUvGVRqfqlrfQN2Anlk0vTXYOB0WuD6nl0amdmCxJh1AK8eQtTE1M39AAwAJkfRL48JPu8u8C7gUNTJ44mMcojGmDDO4YnbfmYui/ibTXQZaSOZh2PNE18qg05zZxS6IUP09I0rO7gBqeeIhrrTENJLenQG+sAijn1WnDxnV9FekzgozviErMEu79OR7xA9jrYYuaAB6MJ3hJc1LXP+6dgCeT71QucFiAZAH3l2Z54OLkoO4C5bFIsKrCLZPyMJ2bms/Yz8ikWNqVdmJFv6T4CuHE29WWwqI+oFLbOFtOWQXajBB7R7E6LcJk9qXw0KGpKUy4TU8r4IhTHT9BxI3NV7EEYziqoTW36Z/HZDKG05dT4dNRtCImKcd+TmEX4qWGv2KBGPuIfO1CH//bV7fBTWOqBIl5vv+dbk4JuvPqsV1gMhXJpLxzS7GiNyaCqhVDoHbEsut3HcM5ppd0ZyrsUTDcVHDIeL9i/MdNetjkmCW76atx/v1bdPzaHnlr+bGNtX+iFpM/HDMktuAkCtlnBwIA+LRN35XsJRYMpUBl2aiM1ZQ4wonRJ5glsk1RiS1FXRJdu4zyS2BVYgRYXz3wrkMeo1Hjj/gBqHJWGX4PDNqkChi/CgydmFYzU3PtboUwBgXplQKpV/qqcbkqflClBtuWO8z+64p6LpVrl9NkafzzFJUKZxKK9tUh5Xa5fcmG7ky/5R0SNE37DT5ih2IclIhhLVIxkbozT+ZSkYmetMd1GXeI41iOi2FDKTzhrl0GXEmP+o82hV+zEp7vLnvW4/F0MQYwTaLf9oio6W1Gqw1aiEB0fK/aWmWSeZFFfYP+CJZ7k9J6uXjcfVlFKS8YAIawbnI4zVEBUlrgDp39AIkyWHHYFgel7JbBkpfWAV6vlut3WpTJXeayONPrGFdEJWQcYKqcN5C5jxdqq8PRnP8rb+k6EdHcVwLmRs340kpTJ5B6USZJw5ggOU1uaZ4k8W22SvEmpFe8r57Rkw5dvrP/uTekT2fQdpU0j6jdoJ4JeYJXqfQZp7pmUnU19HJE2xUGxWa9XFDxJyaGt9HkNqAzSEiFaaF6STqlT90WcWOSpM/prgr0hYIbqOhtCRddZ3PGu5Z+jQtWAPoJku3bul1naM+2R91bPTfJhce8vypaHy+NFfciniQupaoPSn/XjlbQFD+HKhupdUW9e4HVuprDhyfMkf5jKBlKIr+TzxiafMX7oYcORdu6SDPOKpZCqk+Na9FWWZRQUq7TrwKb9UYmBba5YzkSM+XX8EGnkypYoW7YBuCCn7ckngebFgs7RVYMVmCRv4UbpOml4CoxLe9CR79DZt7dAnd44FIThalXDABKyLyT2DxEYYxa7Y0dc4NwqXK+t3h1y4ePQZUMUtPAMUCP5k4qU4vhO1Trof01YRsALwXDwcfD538mm41ZZsjAKrqnHMioG7AfN7rUaN7Nzh75QMaBIXKnB6AA2+ad9uzWenswPs1vnkve50sE9ewZDadMYSDzdwMvCP48LWmY0GjGn6kM9lssHdub0FSml611JYCQZWpzsKnddQ3InMwEVZizj2Nwp9wqr7RJXz6PmI66lPav3/4qqEkLqlXBvA=="/>
  <p:tag name="MEKKOXMLTAG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njXUBWemRjAOozn/HmCP9ikBFEj1B7g0OllzXFdy5vf01Z4gCqmgDe+Kyi7PMBnmA7x8w2zuCiEXztiDmIzH+jkD75cz0RVtfbg4l/fDPTtaih/sMJVQg1AFRXOMfOoweKj4zbCHt+M3Xbk15QRt8/N/gj+8FjcpdE+YuOKnBgBnkAjlN7qe+8C+Mtbipgq1jjWCtx5zmANzB0iAuYHHUOZ7AHDE4N2ULC9nPWxAi/1B/feHj8zErYDN10pN4CJRsYhJFsmjwoWhQd8fUDZe6DPurZUtXmkykNMI4gbbbtkwQL+AIMaSNeNWWjb1olX66CwgYeJbyApJu5867K3XkHoFBjEygZKtr14IR0QUYSPAo5004EEo500GVmrRvjowva2ndvdWjOw8cDEhf7r1fg8bbTQdHf5rdqEu1mNW1OxzzNsGzIy+K41BrclM7x+K3nQfyxzLMKTThE0Af6CGWtiEFS1ccbKWiQReLlDKVHlraibeFPzMH6UWou4bACseaLSL4eRxkr9igsAehRhcX7UNj7JmM8dgVTlR06bCf93VWKbl++64+xHitIW20gfDszISS9stqY5Disoe0wpGUqaigPHZsPL1YAnvXUfk9ct8y5Z6sNzSUJZdP348GVLoCj/Vk+7ZK1J9XYVSIdRYpg71i95IL7y9eozXjX47tyQFehigSko0y1x8fh4LNqTSBXDMHUq9ZDorNjrvmOFOZRvgwCNmOQG2giw0IuZbL+BghhhYhV2J+47Mbmd/++rQk/+wLr8gUaWANQty37CjObaIAKyYfxntBFZOQQOWO6sMpRABWutghsFokAwRsindKftj7gxSDn1Aai9GQsyaifiVHpk3MUP99di48IbEK6SO3qARS24ZSSAl9qyibn6AMPGr+yHHsb/jprVbf+cqirIAybuncV6iYyr8/HnRsguWvoIY/+sxZeZs2FTxbq033PyCFvcdGkvq/Pk6+oGZpxrXd/qn7FEv/t/NcUYiQ8NnYhmJiFKCi9TjE8pcGXxjDQSL9QdtHaNGvHV4D8nQOfvu/1F7T1SRa12j1savGKe6egiKGz8wyQcm0uYGO9fpUd3IKcfMmHgMIGELlGE0bKYkxt3VyILupxRIUwsrV6ppKgkjKC6qtBxSKvxA44Sd9TTAMfEEObA3encCqb0FwOq+xCd0eaQvAV7adNPfRI3p0Lr7hP2tlJGL/E5MqEDiDgcwtuBbyJK6hS0gl3f/86pbGEOIjRZa2GR9KLPTxRoSJJzbfezvekgdi0CQbO0nl9BSXWcQc1HrdYgt6F5UcBJn7kqDRnuKmzrCSCAzok6yqOgDCF2sw5ZJ28JG2n8jLq9skWIPW+ekPA8V66S6EaLkCXFDrNC9P8hR1QIVWQcuAx20t2YCmuDi8RCNELj15+XLOqa8aYMD+2SUtCO92TvfUjUvlDkHsfC12penYa5N8/EuFlFZCF6E0rD8FrbGklaeNbgwTAAlZUHN3uLNkSk0AchSbnQDOtr4/+jsPWmGVTaMdssaygL/dRXb1MxOzMQ7cAZ1anh/xlKsYMv3K5Doqt1FjlrVDYxgXbTwAQUG7dJCGwfzVdyy0YqLOvoAz2ltJDDoK7eVhDbrDQ03w2oHyqkrhF2qqjWt8HcjKHpooAxTKQ5RQ8aiuFO3lDonELfuzJAUnj8R9jbqXeOEfxdsoQPwIHEDgxW8RxJ0yYbRNqPWC6JoB0+DKTVilO3VecPy6HzYa9a4PZcCJsP+EdisG08LYfJ8DpFDY2Foa3Xq3zgRJhr80QIJU2heMl70D1haTIvG9lvlTvdKzV1v9H1CCrx+r+1wY462pyHZnWVug0yt4j1pMBdDtGdqDtsclCxKJoixh9WjbMFYviz9k71a24JOGcsWsT7apQrCP7A7g8B8qbZgCKH9sjNvU4CrqtYosmcqx5mRsON9fRAqrUpHRPnXBX+Rfzbo9itfDM4GuUUio8HTRXUjxtKR6jHPyhDUW0kbdq4wI2RTxC9uA7pc7VKpPozAWJEK3forbbMpd+yjMjBpQkMcCXNJyKadJ47lOrpnwthvvt3AB2iJ5nChddWfuzIXCECC0Gzq7yJlJmxwwH8GKGl6+AkXLR9K0HoYG/l/dpdcIA1JXEdesUQWg9FLhyJNHM5Z69gJxwpfedbxuFD09tbcoM/ZjoOQAnHAljhQojCh5Ul64SJMndVL/Ay4nMrQHraKiRKdDTonO868Jk9gnxXYOVf4LactzylcXID3TFUKfCraP3Ar6abnWuXPhzQ4gAUj/jNoUev8EIaN8dcMbGtS+QLYk9ggDSFesCqjuloUAIEHNI6sHhmTDxXZsllsIHqi0WHce333A99fpuBM35hiDqKhZQPg4aaf0uMatOlzik+tpbPPLUsVTD8g/eKWwinSE7ARnVUPoVnxPWIupGBx5v8taIybT+qkyjh7r5FFZzMjqRbvpviPtpMsa/ihXeHn+8PEjV4Xiqm7vWj1QXXLiqyxZKv15HFeuiAuirAHcVpi7UGKEjzllHg6jt+4gLA587eK29mLlVMnVZGKCNU2PtaV9PVaJZPE/cUeuBpYwDP7g/IjV0PR/E0h3VE6ePCGqwoMDNNBX++JqQuUmu4dcMiVTtleNG1uDTIkU886fC+/e9V8f2be0Z6612WRUDJiRBNpYUbFQYu6L2pmK0vRianB5WaNvpMgFjgTRcX22VsCJELz9Br69+h8FSZko9+pYEVU4Mzwe7JUTCzE7fNL4XAf1jTbbbpP6t90NoZjxS7vliKaK+5hKcACrdvCeXJ6AKyf8ErKd+JQzHhokxxXuLu+0e91vchrZI6jJxxr6pLNXY5+8ldmab594NETUqn775Z1iYsF/4FK0RvXATYIopTleH3DU6bSlCYGTveAdmbIKeZdqVcfYVuP5cFQhjgG2U/g1Pk5K+bwyAjELqW0yNMGkyg5kn8oliSQg/VecZ/+SjpcZYZbCVYCCkYmh0EOKI9UyODFaLMnXBzdvfCUmfFJCJb0YQ/woXyqpE5U0+EwqovK4Rxi9YZ0oRWrmshPdVr0+62pIKViSO5JnLXnum08/7pU4sTjfKx3rC91Q6d+xPtaUi9glY8dKT1yPtAbmQgYW0wtXhIR9LufNzKiBtLdCttQu7k6PtEB/rDzLxlhxFrrxPd5/Bdq9JvTIZJUCj/Ur84cuE2q8f/hfdyOCU2BDFxJ0jGu57g8GXRIAlc2YIVpmUG5JO96PotPtVSxPCPAaT7MR3PnAEkQnQoN8HBRby6PXCTBrF8CQH7/Nrb9+jjNPK6LMEApiPf36XxQ32dC7yWWqFa/Eh8FPwbWsQXgD1j348XHV77kUqV1Ddytw+R2G0w0BT1ks137orqV7LulfsgbqAOtPlmGF+HwdeEZnd3zLRMX4Gh+Gpuv12ycCJ7C33Ps+mwN9yGD/dWE6mR8Gt3J91xt0dASjdTTW8QFQYjdWhphIjFJAhEZbcwlJKJ/FjPYP4Mx/OQrtDRS8Qz3VDJ4eGQ9hpSJJoqX5gxwc+OphJbI0Fc12K2A46MqNtjxlFRN53eb07e7EX4mb4/y3+P1EppXhQHJv093Jgw8e99mdY/XKCeRyxk3BjddfN8HysLkUUWiH0KTGe/Kls2K/hLt147vPU4HRiHPNjxIA1dANnL6fydbwLimGS6fvx2+HSEim4T5g0QqsSRlw/3ztRaXMyrzs2Xsg0d/6i0NHaxnV01T2c60CYaUGu2i3SzzkdNnonT48Pm26lQedAbfAMtAio3AwYiBgtkTqH9StumcJwL/Q2OnSMiswHCcYRxOzl4yKhu8Xdu6u414KxCMZSX/hFNA7f/UAaYOsxgY7T19tOd/TCx6phkjd3D9oyIGOMaB4CSiptVyChePQId/OgcyYHtBHc3RIqbEgYm1y8D9ncaGKtorA7ltJIXya4oi1UWLw9tgs1IB6i9TE0NA8HWc3MubQbTqpxRmg+azKu0v08e8E2KLUi67vnuxX2pORPx9h6S1uVyUDME6u0X+df7E2Ip6aDAI7VL5LV6qEYXulLvy/OSjmzFJ6d6VExlilc7rHYzt6gQDYRr+8lRQAtRZ7CV4FYbidNlgRUlh6owPmAdJ849nMe+6EOthrRJm95z4IAbDxT215gEd6mVs29jjATrev6w+E9NdwZMKP3ORk81tdLweu1LaABcVu9VXuJQH7zOX2uHhKU7wEe5qSlnl0HXpH0tzb7Mf+sDdRO/m8eSU0H7CsyDSLp6tjrXROwsXY829RvmJnqmA6uQ4kWskqrnVM4y5O/KQPj/NWANmxMvp6DRv5L6/7g0WIfgedbL93IOL0k9aNYS1VScrP7HsRo6h/qoLuIQYp1XMLszQ+eadGRwbSkzOG9zee/Krl8QVBhjMXEEvvLMdh4LQUQ59CcmW32A0m0b4sI1kRlQ8pwHiKYo67F+KBzC9kKXab5gisRTSqeyd03Hj5oiMEk2ONlZG6PtQ1qcQvT36WeX/GcOXQYiqe0eJ5AOqXgmP8O7f0tY2iOr3fGBlYvRWA0Pwo9mPRQK7cZWQmdgfFGzp2XrIpT4NH0F7ICeHoys6DM89aeiWfbSWwJKtVqSOOrh5ni3+xU7WDyU367Htg8JTSgHKk8YTb6JWqsSutAvDMqOMcTFQjJMJvYBV4We5vP5NhDjgMHCcTKjtiSNplAGuL65CN1Ozx/rIvrNxjZiDx8bUUJGzKuG7gIQcFn6rINK/6ntUoEGB/Ktkbu3ToxGxNMd5AMHJ12zjPvvgCh8+ZJJaoQNxMlnAyFePQ406SZhjid/5hcBnrFyLEXjlpvSD4KSkdZ6gewKP9ZPDDPcXuxsKzUNIZqhzgvYtuCHcfNf7CBbk/p8gbPoessJJ51lDdQ8BUiAGOZ8S75vUYhc4MeaAuNhbK4qs6Z0hJd5SgqnLqgJc4Cj7CS1EvRy1wAS8VB5nlWnZz+9WjvKi85mb/zaP2Hb9qtVUYp30usxVrKcZPjy8AcjxAC3+GPzEFDePYLPtreiTg7+fhniUXukx0d6FO95LC6OznaKOb+bL9JEj6ijVLF/oY57jNQnxeV7i72rweRNbx4mxHTyM98S9ejoC5lrrjn1rByLo4OcI5fXl5+kLghuPpn6JN50rsab0oMIjonDCg+/cAkaUWBtRMutIrKQ8RC3EBHEEkpkn1fPLrIzFpUnEX4eR0/VpbvKpn0Dlbh8hyqo2mHz5/ypSPIRTAzlZQfoQA5hqj9Q+o97DpXKO+UHFCr/SSNXYpYbxuTNuN5SSucnfLq+tuocgl1nOWCkteyitQwrFP2ifD95IlBFckkoXzy5Fb/FXn7OVd7ByYfbMJMHbYQy/wW6LbMBsi2n85bsBs75584dXVRI66EekRdneyz2liBKNwnWPmVOLAZ8OZAHfIlNQAqqcaVFxSi0gEtjiUvmc5K2CiAQLnGH7tq6nE2asnXTVl6CS0svH0d5eUnZTKud9VrkaLjKFSzGs6JFGe6mlBOtu/Ro37srMgJL60jHwNITF4XXWvBCKiXvCcJ8APq66w/3QVSiqQM90fg8rdl4ieej3/wrddF8v71mSBc64cYw1y7Qy+bn580GS/33vrqfrf7zXlMUuTftpXbDQD/sTRlDJ/OjYjUdg860lFX+AoSMtb1s/f84zt3rLGyvRgBRLUwZxKiKmI95QZeVr7/kIler5JF5RmRJbJxSJOmYztbUmwvCsWeeiPKAVoY8ac1rs6uJDgHdgIv0LsKLnLRohpNWqkmQLa7q5ki2wigApriCMKE8H6Ulqbva7Vi54qZm5/ABXXABntxpQBynxnk+wJNKD6s/+NU+Gk5OY7ju7wp6QgkISQY+3vCbv2Lkhfpt5xni4T1HxC31k45bCfwMAvXZf0kJg6SRKwfsx6BsnWXQSw9+sCk4VZVnXnimxkStcr1O6B9ODYlml9teiraW8/Eti/4ARZPXJNbkdyNNkY5Wa0kymPdpNnip/NFJZt6lvn4rOPewJ2hY0dB9/O/0PPK0HyKyvwvOJh0Xd30jCJOE9N8tE3GPCnIW1KOOmqNHj1diUdsh3elpikrKp/kSHIJ3Pn0zYhzRTaAL5y2d/hoXa8T/Ru9F1STjVEFoW5AmS0Zi5JAIT+DlbO2VNq/WZCoQ3hSVhEntx6nYQmCMyPhBmhOKXxOz+Z6pYvhrfT4txZ5J3YJ47HerHeLje1mNeDJTYO2P5sQPrmk59jnUObqou6KXOVyVDTt1ayBUfhotTL6p0OiT6f0SstJzsHFSDYw3LmXsvjw6dJHg3WdXUNF31WE74FwF8ExRBATz+xyBrUHBpig8vPF8iF/RgA4yq83r64WeHLeTTDmeeKd8gRi7elZv8982ynkKyM7Ry4JEXnq/5ol/dXsOCKHjjdFnT/Z1M/2iHTs5jobIUTD2CH0WqtNHQXHLNiiLp1eIQi2mzMZYPhLNLsL5TaSsew3DlFSHPgsmaYdsDP5oRD+EbP+AUJLVkkBxacE4B0y8ZrcumqJi3pUT1QILCTVXr+5Skhk3dmIlHB5LbMLpQoiXcGUOzkSOjdCQ1r9t2jvlshJFph3n1WIxB4513/BQ8NfkCUAiCgCMiagZz6u3rN35x+F7t+HKf/z/jzM8vh6aKszJ/IABxqhDmwplFwwMnw4PituapWy+SbwwjnO5z1Sk73U0ql79uygObtAinWFk3r3a0ifz2iO8zwzl04QJ0ar6WNEzF9PJo7mcy8blKCCJH5FgjAakhAE3ZGZDRweApAK5IOrq1yaNGacxzbvYL08semcJFwZP+GvT3CZM9HFxS2/ZHODIQhcZUvOobjl4y+lXxoC55RYbENa2tpXz5GLnziDkEUDXUSCNn/RWnjMnw388qpIH0yoDyqrCPhV2NibNT8LW3hBgwg3UhBY4Udpuo3cnaSjWyRkD7FlJQCQUHntvJs2S3OKL5JK93/TyWDD2LK/NY/6Wd4mAhlKD4sD13MQ7PGC6ZU406eSqqAHeV/D2P2qx4odZf6g/Eta9+8vgknl1KnjJ7gkW6GW77JUpZEFP6RSIVOwOxrEy7jmCuOW3TJNITqireIstfNOiUe4ivOv3sEEAyeRKxUrOAhC59L7AqjoPngxurYU5vA0EC2199n4Vf9PjDhc9fzCJVNBmVW1EAMxZb0DYcPEFWzalScgS4hsBgT6kewp0jwWUBogKLt8SpwqxbZPykJcLc+8ZYXDvOOXV6ApwSx9DOKXMmGa4jc5XeTv6kf3IToPzLnKzmKBU9rKafhl/YnzHU+2RTHhGsgPVSj9gmEklwAIGActsM36c9bVw16JK+EDUrtgRef+fM92HQvjjSEDKfd9SFDTHvl5gvX6oIxgiBS08DHN2HeJT5TUOchPeYOQt2SNo9A2S+SJfRrEMYjPQRVwXKJL9ofjCQe+KIB99wZCkkPtkjVt9NCXGMRUwUoh1pf/+xwihmilu+z+ErDr9DaUesKlxB6Eb9JhfUw0+l1adxGVR1WmwlNW59sYlvv8ORlVx6+wMz5TENcPLDPsGggLMed13asE21Xzpe+5VA5BYrONldiA6AEfOxxXam0Ewe/NHARVg4DDYgl28gSjwh903Q+HAaq79e/YMqX0qUjx+oA84ha0osFy+LUKjax9/zLPI6WoLNVCXLlZPqeZqe1P9oHRNyG2Ds+IJ0fvgPhuhphle4VFPuC1I7J1dBcU6u5sAA56RRWJb7CFJeu4fJ5W1/7QPGnqwcC1Ay+bduSiN4btgaVGIGqBu/BAPsE1kE+//MklFySNDbbSPyzEM5vyK2B8PiYxa5+bi5bnUbWWsW1DiEVvuzuAw9S3sSxGEXr8BBXhTHai08VxTayQnCR7YX88FzYE8HVMilX5R1jQGDgE9SkkKQS27hMkzzT0wOpo95bjhJswKw5VWjWQP7tRaZDWHXQOrSCxr24j2x3kyJWuVUCmxGlRTwdas/a6iJF0hSdn8GN1NJGLVNkvCOuzwQuUyqHS3jvmMgjbvu6yh3aGmSZzhBChQ4k4aG2twBq6hqDBZOcGmpbB+VsMnWWZUVvrZETsNNetBa9i4ajXyeIUxgKJMqejz40ZNp8syzdDhoOjWF3O2/n79vTHDuyrelH7ba6lDBmAx/7cQTACccFuWCMBXXXRMN9rC/0gvMmAsdzDHCjSrfL0UzyoR+jLfr7ikJXaqx7mer9BY8a1hu8o6FYX3RAEmF+C/7xKsb3ZLy15sr87qry2Ba4dm0KIf/c/V1iA6a5HuHWsTIZ/VTPgDwY8WLZCfR+Rc+Hwb4fM1mdqHADvSH0f7cvRwLfZMIgXmjOUroeDtCC7fUbfS1dJwpQR8Np5IYC1l72bR4Cz7FwThlNRDkA9EUzdDJBxwuuDhLSMOjMA7hS74MFMn4ppXYWU0iQEMlPgJ19PrVNyTG8VgjZCfrL81sNHZeKkkmHyf0JLaHBmsyjQPNZbJnpIfmKAZ4AZSUHX4BmHpFfLfLpswbQrAfcJ1zh9Fp0FfKVl7oS9ai37IuW/nWv1lEEEilrnFv/CGSrg/7Sf1pj31qNelbj5PL/skJ46Zd4tsnKcDyT1IDOPRRkoG58db971tWo1DcKAJDM/y5aezKMn87bfGFG1cbNn+Drsx486gqlG59snEGMVImVYRi5nskxoU9Vud91/l9LWHF/DNINvxxO2hIMuA/PVONicFM5UQ3QBcxH1BfhCijgWJ0z7uTIOa+mWAb5NdOHHa0EJSGBcfxIeqD5VARPEkhmolDa/fnavMDa0MzR4/WoDgg2M8og8TUr36/gbtlYC7nAGkPfpnEjJUf3M+IN2JDxFdoYmbY1ST0V5gRki/XnClkHKAFFs4eK5tL/Zs0USBbsFzI+ey3jiEjwaRAy5B4lpcz/+JGtSFT+Kn8+cnALSnbKRlZf8qGtAWzYzbHVkAG/sZGHJaNYh16BY6ODtuUhIGY2ip/f/yvrsVI/iTCsUa5UqWkMMHN3omCkWc+bZ2fwAAG9SIKpwvMcJ7sMZC3JBHmC7yo4GsaNeY/Q4bkbmATPY351mx4Y4RtsLJP8IwCyjYiNF0EM5rK7AaaZVHXqTWzXTN6Y44p+S1iKyLSN7VTWLKudW+TF/RltXplRvpPgz+CuODFBPZoDrxf/6OS+e4abBQ/UFGM/nZO6a/xf1RnrAIj6OH2fZzMIxuK47W/O3G6o+JP86358UuEp5pajoeKt3uof9gLvtb5o1wNr8PcaQ0LCcEiel7lGae48P2vg0Mvj6bEK1L2/XY+0ynF6FB39WjFMiiPFcMtvZK/XrVAw5Or5WnNpf0FmfsUEs+fCdXy9EaBG+Bd2LM82lLEmszz9rMvADmxbje7N0vqNPz29uwl9L4hFL6mZNKt6Ph/Pvctb1nzrVDPAx1rmWoytSdetmSNRhUjF3gRobpStyA1NhM8k67xzR2SXoNS4liNW5gAlkYLJ5+s8yfG5jz8WEQRILRfpb9eETTM9bA4ZYk4Ats5dSx6d0wG6OoZxZ8tDWhnvyaRDSMBANrAzPLSBtmyHb3Limr+CpphnZ3HKIHyLmPboZCUXlY0dIob22DWpzmIzz4aWhqMVSEp67x8j5JqYHNN+EwBuluQ/OdPtS4QYxYKS0BKapSghX63YhGvJXt7vA4FoJST4IqVDGUB9Kmnh50xtH33lgZk/3SYm60Vq4Di/qYPzeuX5KxuthxS42A053MSawXJhqUCX901SX7BY90rDDZH45ljS8NrellVZlD4ar1fYphphVHe1NttekHcWPh1rBrjKgyIt2UWHhyCv7egSbzjjuHWg97A5a1iFIO5AAZPtCSRJLSGmH/NN5ceQEP4GfJiv7dOKaGnRdiH3wPWOCvh7RI6JYe4pJ9IrR0T9n3ax7nQw1pvuBG5Q26wyyKHaaZHnRoWO12eKv9WRL5+uTHz868Q7TlYBcWiWrGNoVaDm96QmD7FRU4+8+PX4zavNlxNEBVjIf76y9Bo3Mmx7dIDCVD+1Fvc3zosjM8YKQyl0gzkUxfMDCGmJK+aWf3K2YjZ4M9rEkOyU97Q8HW3m0d8OiZcuTJccw8Uyd+Rp5p2SAC5NhzWyuTV5qDoKYt8GrE5txlfySKN3jBGoAaCKIFDzpUm+QSPHyb8vEoXqlnSRw9dWiZ7jhpB4zV7oG33SAl0WDvrt3uA0nKMMaLsYzE2WxzI9a314uzrLLop5Z5CWbQTfye32dmRel3fmRrCXQSmNvPQcRescn2NIgrVkGdMcGG23UUjw2s1CENeUKQZNP43BGlUnVKrSXPvk8X41pcZuyzOVukzZ6asjxFFyjnUb3uggxMPOzg56w0ig4IozrfbQjHPuN63ZRy8Tk0PjOqO6biaEXm/Xch9j5fuWztjK+6gGgb3kYlq0DIW1rsNdtbZquSRgoPNWUUKqUaEL8u3oepy6KdG0KNJT/fUB5L63ppK7sMKuwfB24gSaT2UOjyRhyYHYtsHS69Nzk9BpbfJVSb/tlBH7tkjFcIIWX62z9Pk2ryx8xhXfHywb/4C8jG0jgMJMePaugJ81p+KYojKER2m/usMVVlMxjdQU9KCSvE5gf/Qe5g6Z8937+RcV4ysgY4hbyy09616AJrhc3PeoScz/dW3UrMTzuaqKkFFPRstXvGPM5eRag06STSHVsi2fvMKzq/by6H5KKSRTaUgOY23iUNDElEOyJtN4CR1TUvcbpwpTCUuY+R4OmtG4ttTcJz5wZ/zoXOa8ZgWHYmPmXVz9lnzS/N/djSX03aSSPX67/oGhCWsIGuvq5mq3SxAi6uaHSb4pEz1AX9L2beXY4vak6W2yXWNBpezCriV4o0+Du0okm2NrXGHWfV2AE6Ax6qQPjI6NrB50mv8KGKOXJKsVmHMGx968JyX67uxjxu5UTfVx5xVbW4pMALdxppQh4oGXzeXHt/Blbzo3TfKNCeX1B2k/DzO95wwNpY3BXQz7tBYSnvcPH330QywP07gqWngjRTTnCEpLIL5Xtv8S0InRWQPhp8PYUk4Vu9DQjL/64ZFZZzq8+pkxI3GafvCh41Q2gk66jHZ/c6IuFCxd+2XnD4YsGzOwxGsXMm+FI3RZGYTDOOKsTMvbi78tJgFDy2Kltes+btBLWWVGVq2Eg5yRFBkhyExJv7wa4YCpEOuhd0bhCBjm/HId84PPsIWfgv8GN499AB0EVPC64QqWi9ESHyG30pwxaKx4DuZpyUn5gP3JFsI9U3877LxvuJwVqJOu8NAU016XmTsHQxnt4i9u4Ib6JkOOEJ/1GyvaUyzkfC2uCOEVPrB7Gl66kUREJ00MuT8TS+FAV8MHmqOsud6OPUA+JV3D355sHsV99cNM34BLA5QeHa57gYYAALxCb0+czseZpZH952I0sBMs2Fr6C7HCBx6xkfQICdC+xWmtEeHwl7ae/iJQIByJ4S86V9runtq9f0pqr6r4F3v1GnLogyugjcuqYMpLu6DKIHH7eO/oEQn4MzoPMdotL/tUd8ba1d61KR8y/z1LxPnj3CD/fLQctqQ+BBxGIdqFw/cO0PL/zPbcvQMMSTAZijrmgB7VZMiF2RxUJltr4jKgd8Nh93M2eNPR5sDE4ajlY86V4LYCaVPtHkd2wBCtFDjLRVG4+fnXApq2v2tje5wkKr2wMLbe31mJ+HuCMpl9II2G0ZbRMDOPft9PlpEqajdaUQ7HxOtROwF5nffVo6Q+fhw1yfauAHVOgoJvRTW9b9jihQOMBlTZze9gBy1CsuQWVqacxdiE4xlFCbFoALp/wNk+FA6O73alZXK8s8XNCBAcKNd1BeHU7XeO0zN3veOnZPYre3pOJzFNZw+7s9Xj00WhdKrz/TbHZk9jguJVZ5bZ2B4Xf8hyO3TKnR6WktWVo1/it58Cf6XH5XPDJBDMoNJo5EPSWg6977pAfVjrgK8zhEZ1cwnAia39sU2fs1a3alhvo2EwtY95AmYVGu6+Uab/8xjPVH8MU+eIzOwn6TVnULcxNVCK/YB1FzJw39XcKmywRkGwwHkZvyg2cufuvPnyaeFjYMXwRyLOPuqt98wWmOs0hWlN6xTNsXczCUKBc7qBXKvxbLloCxgjBvkrrou9cfghYu5aoRAY1nlOJRY1CgUByxD8Oigq4cpT2hUBtwgTmQJY1hpHXfuuGBP6X2Z/AT8yvmKkV553elQjHWGQUnynDl0klVoDNoMmLn1l1niHUDIZmT0VZaNOk+trJBK8RauTgZUkCTqGCYAX5IynNEMq4d89ubhFfJ+hMtzEH/jmqwyL1gMmws9XbWzjpdG7X6T+2eISXtVqwI4QW781SWcUkxRZ7wnHJsxkqPDMt16sp+6sEinVgSzgxmsKNc8YSt3HtIpkz5MnG4CpABJSDQBnIHACN4mC9t37A7ov9tTDEF9k2UeSjRvV7VC1yOLHx4J3ZVlFV+JLMmO/ENbYjRBdspEzNmSdgEX/dYpCPX9PI4Y/1hRMgb5oPPGX1nVUTHxfLh3CcOT8+b3W5mFMA2fOcghqlzfDzCqz4r351IX7f83cBgw+mUQJjs+5APCQlvvVN5x1CWl/86DhjPWZbwozhlcr4+ueIWKD374dM3HTh/LfdNb6kWII710emNy+LsPV2W5iBkWNm8VxDXxhDSzOP0ogv5HX9szt+CjDn2cz/5ASc/mrIYa3ANvXEl1Hsq8cHD5LB6J5v04zvjZIKKH2phtHGm6OZAJrsxK/R0vb+ALX3dOxUp5TQTS2n1DFoocMzxF31ByCZ+pNcC4hY/rXL77naAHBWeuBx3oW/bWpljGM8kcqCBxY4olTYA+w0DIy45dNebs9gFeWTpeycieyh+tr5uI7fsG4xoZm9CyGOvE6FKbgLwzzko6K933ulFMnxOtPPtjy68ZbtbstjRwgDCuH2I06TMGCOjOiiUiO8o0sTlsx5nQv/IeW0/Uh22RCxbk3lB9HcM4vBVinNRVRbXRCeB5MfJGXTigpO0u/cWb1h4nK2w7Hk+cayfQm70Es3eUJqPCOpC/sSsP/6CQqSI95YXBNrgv0Ox3GfijB+hhPS21xNCalTBhojmaGX3E6S/CgpRbBR0j/XAIiUFL59VhV54y9bCBhvdIl2gJuTKKwKsrVF/4Y6ioIN037pv1AKCzTd3YnrANQL1KHB6zsiDGQpU7vIbMadO5jihaVyhVg1CDxNUICLC+G6CNDXxTiP+1k8SDbHfU5AV0xAt8/5HaFL+hI+t0NzPJ0MQarAxVZiKwSAoXnXSTQLUipKez/UvM5r9mTqGe2sAV8kjjQXpnm7NfiaYeWQuXO5FpJeAB2OTsOmmoqc6Uu90UgJoQzIAC3CU8VOQIoHixd2sBrJoW8D3C94PhtDnjuT7KYHFdxcu3J9b2kQQXdF2Su4E6YXHTnDk3xamhdi3rS+Nv8S0uM2ZoSeJqW4htFYw2t5J5vJDbrFcuZVvnI7wn/SdHXU5gg3uF48ZhooNWLgqGG4BoGqfmilhyXrvaW12LXU6korXj7pHIygovsITkGAxPZoqSEvp2YWfyuQyE6jHFREhQ0kRzXrHKWcBSSzvmamldKUOQRM1O9kFJPoJvVuEBG8gRijY0xFVSLSchVLrnCjgQdeh9zQvOl9j+Lw9/sKFuEPyM+KNnpZPm7VtB9hOY56/euLGQs9d98JPhmkE2v9g6yEylVMcuk77bNupbsaGLSmycBRMRgG17MJ+A47d7a4VlDNmw3OSKum5ZQIsqGu2NeDpw1DWTMI6YkNy+EH249nzINMvrz14pJ3atr14LskpxuXygqQEDgSLFhHDANzAupXsyzCBy6MiEfWUUCha39v0xj18ibVUDWdLOzo/oVU8iTP01KCgrddn7+AyeDkp23vN66Fl3EF95HOH6RlWmO2vI1nQW5hr9+J466IUzbxAWxa2dkzwoeIgRaHW6gLYv9gHVkDZq32EVnbvMkACF26WDKqCshkKRsZf0T1LsaH159+hBNINM+xf+CU9oPp294khRMgx3TFwx/GIQwSf6Dz+dfJgHgcWKBlAc2yxSLLvXsdLXmddCaOA9RUzuEvcSn6EXfNAsrXxhgKSdOdwymgVFgP6jRvfjB893EQBZKS8xHByG92rDxzSJYKcH6/3Z4bSvksbgPAoYvN6eEmfnTxYugJ5bit5Q7t6eGGEKwNfV5YZqIZeAxZxCJiq7kVVHGZmcXdlx9zlJLb4vtt6vm1WEOGqIqnb1yBBGl0PGa/Jgu7zuq5uHCZ4zBcTsFKyA4To8xDCzuyB/a5MLNbm4EBTF7pHc0zr22cfyVhJRXiCViMDjoHY8RT0eMB/0v7+x4U2w4OCtScjzzY52tAlUn1mEkmmd/vmYUF0/wsOQi+y9BfeVPmJJnetAypSO45GA5dFs2GwbNRSe3IfPtAVcKoxsj2d+nDBQNvlDcJgOX0NI1zRsU6+oxC5ujl4vBo20KOWMnZ4kCoxFFpdkyE47nRmg0dNV79Pra+gpmtAfGju7w5uump5p+Wh0SwPKXOkRFX9f37GBp7FOvChqNTv7w6nMMlvxsyw/fx/88YY1RAbNJ2amiUqtrn/s3AEROUTrZ9sYBlr8XWOxcKJ4N9pdSyyzMYIXeD4NaOiNy7/2WA/Gdq84y5S4L0CCQsSegmTDgf++bS87Q4VPYrQM0gOiU1ZIFbnpSN8q+ElQLsdzAxoormeWhUkpOazJ/nxEjUR0h3+FHMryDas3emWJpWn0EmBglGtYa8TidyIGE0/oL/IuqQqRrFilTMAdhQmZfQ0x+rwALQ6ICAjkInLYUnxwTg0OMfXF3cnuekclqRvV7SQhtiLy3YrjdlX9eTek0b9AfdzIWRwBF2iav0ANSsBJL5TYKrvrdOc/X383nDaQqZeJ0ADfQh0BEnmV7Q3u6eZ0+/ymqhx39bt/gVumKdo4G4ZORIkVV4pSfQdMNURKJdc5H7CzXvCsqEGnpF0zpGfDE5fDq/+TyoiH+2q7KDWlnw1AfxCmpw3HAF4O2dDvCeivd+FDLYzD3s6s7NgKDQYvAZtmlTeSlFdZAriMvYV90NadQMHCWQvRDl84oCXdeR4yamuC2ZieiWlIIMgGkowE5EdkSoscekOmJuSAphXo187P9cRRsz8J2/D3I9s0hTnsOapkgK8VRNuG63vSE7EauhC/C6nzgZdzHMjDPQ4/TfCd25u4VomdAXNED1psXvKN98M64H2RjbhSvRkvLIpnvxFmjxULxYdtzxegmFvEiEpWzxpiqRrwml8Y63M2DmCDrOGIx4TcbNXPUYq/VpOTGKETck4sQbSBRI+f1WHbQSvgxLPAfvvtqk6KjRA28H5oZo3arjuau1rTglVPw+rdeHbd1Px+WokJqH4Boc2lpVMExNDNdzsdSybA3BHIFChp7NEUuaw/E8+WorXV7fGtxtRRdy2wsp2kHrqckT2vJAACicd2kLMgJL0lwF7z65H3U0ZFkZ/R4W0tVNcKdGgjef0y11Tr0VRk3aIe/2xa4oJvx7mQaX1HcakazMU1QPRfm45foXkW6NumAxRgha92wrfqbUxtB7nLpFIiI76Z98MlvAQKS0xoKCGsmPhihyfTVDcvbVIYWcX1SH5MEAHSGVWfVljsLB+2oaqEBKraS2cvDwTcafYwDibuQBJvGBzRDHM1pVkdn0sCK4WUrOuUymRxiF+6dINiJ71RsCqhX++CnURCjEnBOEZF1w0oyMnT46CFmPo3uLdOtnL9mHaW6ILc5mU6cLEde9klS1/bqqJp2Bc6pf5ZTYYPveHwthp8UCIIIkiSF3TfdXrH4NQrsObj14lCfonxpzW4imskC3qKCsDaeBgnnOCtf3Hg1QCzaQotz+6e5yGrapHk65m0yUxq6MjEoEdzq+IZVBr0xzLraESulWqdQqpNg6X3aRhty24ehgVBgS3LDnqHt2B9R1V4xkIrULWg6VjvTbxMcAshFpzfm2jI98qFZ9vpuSsIf2GaB028wHzI1RN1SKAHl1JX1d38gIQfJqD4px9ocUy5qEbBuEJ2oEuY70AhIArgDMg74lBOC9JV6325hv2Pr8eNc0H12oS3KunjiVrc8bhhupIGBQe37Gh+0VhKXEYhSf9zXCfq8UzM28vv/8OVt9XNgAd7PAy7jdln5ub6ucRDx61dKHBDqmjIelJ/5MtwjUf7lYZl6i4us3nssK8n+agFcqo6DGoYmIskmXMwK2iNtqcl/6pqsraTEvfUK4XQ/EWnbjhAIVDwG9NqAlvuSbXRuTEHe8VuZ4VBougDNYgJAunjXU70JJKWgeEO7s/zp/Mp9L1m3Sqn5RGSz9Pe53v9b7m/+jJUrJZIBEtyFSAcfj1PYoyju7vp8aNVY1FNwtwbqWYKIX+mUuykEgyr7lWath0WdGsxdzng+FmfdmgWRy6ZYaCPwnHU1Rgc32Btqku9C93gg6+9WrcvjDZ1t9CsxHLY6uvqFwOTSJgZYy6PFi9WiGHEALMeKheXKSO8UzXIDRW41iPYE1jOm3Cff5P3lRwzkDblB2VU6h9KFX3Wzas6QJ/XQIgebSD2B4t4hcwiKoNKrYsa6RX1sPpTxPyQt0Fkgd53dGFGSTHOc5M4Zkf/HggNHNSL9bNfAsOcVkOtH3SejVs7NOTz73q6E/sZ91eOt65J0TEp69Ovz9ElONBllqbcZODBDK2hg9DQUBoRxdgFGFmjh7ZubHKzBh9YUBWvwNu1tSUgs9aw1Z+riQXJ9ws+ZrhYsm4nVGeFSKVEvC80+eiyFEffbvgvGyn00MIL0JASaHQu0nZ3rjlt81dDdYtd4LpxE9cHZ6i/IaHkUqe66uzWHm5YSi+o9QWxtBI/2gaLzJknZI6KT3inTSJZbFUUgFlVZjy+s/cG347aC8X8+PfPGsfW3i6zsOVYkjKrNE7z21xR4Qaugk84AbvilQnlyFvjh03qagMG3dKaq0K3glChCl/KOtsajMg7wbYWEBXHjqAqDvCHGPRjg9lDBHJQK8N1RBacJvokD7o+ZTrhxJNHLoB9gMW44rpMxDXaRzvodif+4FVN0h4gPKwLv7ef2U+6sRjYl8rOZnqMEKxJ55U/McC7DG4ANse8jTIQNsw+Mvox+NEj5LDSWRaSthGxWTV5mv0Y4mTGAhfQEVmKizqTJQ9yh+mGKvrIbpVLTL4k0M66dEQysoqcDsatDj8EnjEdUI14f6Qv8OpV0Cqj0B8iRSUPXY/0G+k9uSGBCb1Oa6h1OagZJxFJZy2Vevq8CBKpKDnJK7PNLDQtgqNM8xV5YaT2MxAbBPf0O04kMCWxVsOv0N83vkigC37LHsyWEZJ12m+vnikON6JfmGU9DxUWArAyt/yf3fc5pa+Hhs708PLlpKe+hdnBLX6yebEywHm5gFMC1fUfhSJva4PfjDbK/bpuYwq5EYQuv5vk1Oa9GMVMmXcblRr5APGfD1UNWugdO9ork9j9ufZp7t8bOEbvNgUgm0WHq4Noenyty7Eybb96dKhmwV5ca0pDNM+DvUf1ChWF7hzLZ+cpk3flOE77erkQcyi2XYbkfVGez1Wmr1SCwdphA97PKqL6tkyeBb4iO8jvHWEeWzMmXF8SX4/OMnD07HeV3HMc2HcJXDvPtN69MD0GFkO6XMlSXNDA4H0tgczJDVmqw86DGQEhML2824+u0/6mWQgl2rd9MkB2EwW61vlm2r/gSdeGc7OPzqK6cDujIIt+WVR23IezbevgdDsPQqN+OHHbe8kij01AAP4+AgSq3frfa4fopFXcPCDEaqGLd88D/MnIA/REIibyTubB7fJundiR2JvqNsE1kO0q0cYfRzV4mHhY3M4KWt3DVVNp1Tp/RB5t63Bvci+Q7OsuseD3VACSIObg1zDw4MHaG849szZ+YGRszbaXSIoVsTeRZ/RbEujUnkT2oxJv8zhM/gXBeeDQTAPv4/0IY5F5avemTdrhKSCSFxesKs4Dqfd7/tClEW5wRiR0hH/r3B7NcN0uajIu3ziEkmqbYXpjUsNYIbOj+Ls4SEQjDRVLwe7duLOVQSwzcFUTc+PRzR0yButi4PIjL+T5gsJtWAQ60JGoWzJWClGmQkQZWsvopTKT/GV35FIbW8jmH4Wsl5kWi6XI3WTdWhPU8XoRrVVTgidVSzEBQ0UfxndIPuuFIRiehsvvmYpz9UL48Z3XEwiejLPRrehi36nAjw7iEhonvOs1U1d1vQ7GbznwCBZJj/g+LDFJIMhlU3+P4Dc/pel5sAvtkLvKiaE0KqANeocJSPPcQYw72RBADt7DXB6cLqCUKBlCnnZWhcqm9Vib69yXo7VNaD6ipWXjTUC7TjMpqEaYb1zdmWuQwoxDFp48LvWrUI6HRUQLJ1ibXkRpuhEmupzhQ2jQUcoD8Ow+JpjnCKY/G3TGRAF4k/4ueG1qvQOaoScP3f6i8tyZCcjVlMSB+jt1rCBnKYGaeCj4hctcFDmCa8EpO//3q/D+DtxTK+4NNvwdT2JFGVqfr6rUXkjFx/R9ooY3hRzCvCU7y2mK1HtIZE1vpbcUANsCYY4ooMKAct1CmzRYIuoAHpMi/FmuCXv7HLF3rHDN8P3mF97cuXFlX2Llgr+fBZu/WfTwkCuUen0UgkUzou0lEL7OdyRNUgR8IZpsiuw4OWW1SUd5TJSZpRLb5GlB6Vcv42AKHam1E4oIqJDK3J92e+9cOS+Xf1gpQlY2gtK4XmFPZOxTWrGmwyK9nbZ3KmkMwBQiDxbqM8M0IMQ52rvYXGTLP4MABadA9K6jrRqv1eohXRXOfjkY7E2FhNEahJFvMarygFavHSq+m6nTnrxp7jTAyhE87iUwsI57Vu+ghclA3GsaVqXOcuKX4/1oohdCSkz4LmVqkneE9orsopb0tzlyrGTaDyfZ9FjTD4LS/2k2XwC5z6FN5UCkIhrrGJL5o9MaPH1j4EmUQiyBuqhehvRmDSPULf7e49rARkkc8Xk9vTmIGnj+kzzRtc1BOwPfURsODEwiznZM+uqDv5fbNgm14+D8q8RkAhKAcccpDVsz+jr26oCix8a7D4Iy1g08bkGnnEAcX3gxfqWajye3IEJ0AOcc/pxCYKmFmEwqpgXt1j/Bk1cxKOXVfJ3enR+Ej7Veal79w+oTIsIAkhvU2icV1z78Fl8sPVrs5ci3wEDSnD5D7Vlt4qcP/hmZwFNderb4rfqLjeXEXwJi0UiThsWmgXR2FY8v5OXV3qzIgt+LTU0rF9Kxwr5zg3dyKkxScUDQIoNhvxp6r2PaWkqH4Q73OXtam0TQtmUgho4JPHuhnmm+FAGkj9fJM3j5pC/QfV3FCTfXZE1uGgKhbukQHfxe77/Qz7gZnlY+bAQ5NKieiMqDMKW6DTulHfl5BDwZc2bFU5h+Pmb3wGzSVQyOa9wDoGadGpfDtxiiP8T8AtvoqqeXXL1ShZL2dKbFd1SN2waIuBsirAFxDtGAd1gjHhWF2phtF/BloapR1yVcR3Xr9UqJ6OHomHWylBjuK1VWaMdkwWpO4rkQR305ggEBS/MvdXqWAPwwrwWC8z/swoi6MhfJZVU9UipkIwVa3/u0Qy7uheVbwMsFozTMoLM/3QoOOAT9Zysh44VVOCTiUgLnhXWqiq5GzxWJ059d2kljlW94qZUlxlWTk0hJZmnYAsItSG1lVaE4LCL0qqw/vB0k4g+hMVlSybAhAdoVISd2VhXd676XHMroTbgFqh8mIGfOHbiy5ew+sDqZxdHGeqDerBSdXctcNNzAd9PpizNqqysev8WF/dKmtePeCaacZkInGa8BoeQjmErdfLxqHfsOM4xEvLnV3j6g73US+BSH7oHMtadLm6VQnPWt14ULWPocCExpz3mGd16dwWQPxd1iQbeD0zp+xh+wZ0w1DbSzWjxJTr+3tahuKZjtOkfF7xMh9NC2z5QclMi5E6quDOLLJELG4Q77The//zINXunSZFzU6WdTqKisk3V0YG5vN7wq2XOBj4Ms7//DEVzoWUL0FoKfD9T7eMBU8pmz1s+O2nkjcMnDiyWQKDZzlpwyQ5HI71qKedp4mgW29Sod5Llijc4vbC4gJaUZUEVJSiHNtW6pt3ro5PKNf5OCvNnKgLlmr5+/3DbceVSpsBklAbFT73Jm1Upod1SCapPq56zbSW2WaiCNJRuPJKk5v77dQa0FfHOD1dSicJFKH6TDizgkv0iXaicdGXLJ0q6dsQClSIDnCLuqPLTTRa0TMFVFeyefqdLomso82yWCyvpu3kc44zbYfA6rs7I9+WxfNK7yqcculJpFqTR1jwa53Ygr41rGLR3k5grRdTrc5homWjefXe1L2Q9JKPMRKUIhjznlmJflURzWIlFIDYoKXk+/XAeKJ8wTNPErkDXNZZpWU0ACXmwmN8ZPyvGLeiC9rTcLhiDoibo7YGuk9ov+FFKl6y+KXYYvoipi0da6lvkWtN1v4qAUqm2FYUiCm5LEnMdMJbKlXXc0/O6c4QZwII5FEiKSeJ4oFCR8Wvj97pCwUldJT5j2snjczKRnXqOFd2nwbAJ/mj45S4MT/wmmCYBAypnUSW0WoyTZm9oJCduWzd5WMObtTbGZ6XXcKRUBbVjq5zs0yjf8ECsAXfOIRfpt+5gv90KdHjEjzIh9CigW0D0dnRNQdxx3orUezpq71exBFk/J/64fUSHV9BX3QNXO0gxBRRKISni97vTJtkb8bUZE4qbUY3Ub5Hq4APx27RGMkXgJUhyt/n8DUUXvXKeVo2LidEPXChBLhMQiKz9hrVUmUVocNRzM7pboI5DVAVtYshl6m3MPVcG4A3/VrkEQdt+63hEwjNiqoHNkc+A+sEjP7+11i7eybG6GqegG1dGa5VcmcAV9o+G5252c13fiT96piuiYvhc+yypW46nFsDovoMBavxvWByb8u76R7d6mV+HCkA7bZ0CtViCxa6wYm6fyvZVSIq//Y9BvHJxEJUP6spL+e9yX1I9WH2TeHalo/R1q5edOWYUbqsA2m667eLbjS5Epeuwz8/vzAVFTv7imRQTxXLIpxa0at98vEKbWigTT5cNqb7ZyleLNljvigwEBpbr3y/VRuWOGLIkf+Ga6UYslmedJspH/s2noGgkM/PQa/BKvbNScoQgr3c8D80gchwwTakMFjgv2gFFqy85beSwusblmqWJht+NowQaTwIEa6+rISSpy6bGHQA0SDvVcavp83+FxaDwgXB3ag7cyJo8ulJ+9qqKFz9EDAnR4oPQuPTsgfm8VaRTAHzudLSIiPkyYCBCFl/T6w3CVB7KKEYZuwq7obPOq5SvywDCb1E2C3VkRZXZwGgoqIg8z8uw+2m73XpTOT/pNbKxnmsY8d8S6fdGuQGlT7O7tXNdBTJQgyYJkXJ1W6vJiZbYPbE7kT1xQFee4epNBokPIKzIG8k+r2Th8V7Rl/fUZ9ieqwzOQsqvYNc8tPAqvEvWhDRn/974rU2S8KpXTCNtOSdrDSL2YIwpdWLBmGrBKiinFLr5F7sj36D/AID+B5Xj8CYSA7XiJcBlIo7Ik59GU9LjlMiGl0Tnuz32sa5q7U5hxRF0D9KsKlNYCXpFWvLT2UckcQx1XkQhtw5vlhPsU+O4ZMbPf8Urq2k/A1foa8mt/NJa5jhtMYytNSspLI9hfxIxin6IKinQXTrGno3f2XPRkiLEborW4/evjlLL0ViCkcAkF7zoH/dPzQ1RZcKWLhWeRbMSikPcVMzLODQVeyDDHosK8Od/kM6E0IUsE4eTuYHYlCpT6QF9arFZFzwc0Q3TVk+hNlg42BKY2SB3keTv54c9VQ5stEl9JbbirQ5ffRdjuU1ATNer50PZK+jnaJQDBJliGcNFKpvRLdi0NL9/iLVF61QAr47ybytIij8nHKm6KTTsy+/KdaN8Hlulp03LQamvsJ3oOz0h5/psAngqgv7qAEC2LRwEJRIy811oJl5YiiWEFq/MUJ+Rc5BH7lGV1anAGR+S2At3OwubReXFujbcIsynsrq3V3y6p03mgEPih7iD6cuCpeMG/0M2xOCjCLwkF42TaszJ2GRLdT5bul4Mpbsa0IDMI1FNrQ/EVl++QRBaisGHAPsjyIN88fvDQEnJtzqHloNwIpi2PKl6N01Ps2eWy4d1rwNQfxOZyh5DObHgBM0V+k/IBtnvz3rqPrzjZWrxCrS5VCFrMLuwqwZHOH0fpIyubCING+oe+woh3rtUhHsqujMp6uGDjwlsH0Ofl6hLHK9+lphTg05o9t+uzpCaPanpjBpPiTpOjjv94dtzuKPqe09CpSfEz/gY5RxT5IMloUFkw9xgD7AK6C/aqrbbBVGSsg1Kq72ISwASqVxuZ/fFiRhDcDSQmhU+ANEYOSf/p++rsnshhyOKTHJLKDTAFtFefBLQOhHw6YDDivDZ+v5pjgBCIj36ULMX4zeFfKKOXbhCELEw5RRprHowcuIEOq4ROCLkRAen3eGDA5uKSvVqgaZLBY0yY5V/z34ZzIdEflaxHVU1aa2zZk1g/JOYy/0r/0L5CUsIcAQK20JhK/TuHG/Z+By1Sl35sGDsaBlzhRmPxQsWSQNKDxjGvIk0XeDh7DFg8tPOE3ptrxdpbvUq2sfr88hEiOPZSQoD8GuvSQ7DbPdR/tj73MvlgIRf9J/Z4mx+Lt8tztZgjQP1TFb5ac47LhQblUxwAE7s3Vcb2FxtCz66K674M+hO0t6S9LNx4St4wlOxxeoQykI37qyW51eLGuz+hCRYX3MNqdqUWTNJ0GUHT6WZGrDYtmi9mSpVgEmbIStg0J4LsA3NrpwlxVqZLZeKWp0rpqx4bG5R8R6I4Q7B5RiXJTN00AybT5vh4y9cDYnNeoc73ys53hPH4xxh/CDHlhR4AFP3no2usdUYeg3hohu6IWOWqiB/GBUbctcS+9LEkzyfp1lrvNWJO4u6chp3/bZG3e6RWJy/sDpxvzVTrchvTcxIdTrTJeOwYEFOSyZGjZXFjVOzutk/aY9ycbufJ17ATyju+gDWirphkwudVD6FShEQdxUUGn6IPRzLEuayK9p+R/tkiQz1VXYXNXvBBNNpcnPTI0GOAn3Dk1wvgCWmku9oIVqvb12gjIC4LwqX5a4ULJBuK0rmDWI7Dc4RjjYebZElX4nqDPNIgJrLyrWclQpJHu4Q8lb46eKWlmjxwR3MD4e+hHdfP2ofRK61B8RrYBOwCVm8JqemDiCfM4jAuU5cuSmy8WYRWjEJOMjdyTzDiwmPEF3RuKmkwDQRy6JOXm27aQSnQdRITdUi2qSA/lw7BOepzvq2hQ9wGyIXnOee/LnEYTtwbmxNUzXPPt+ki/b4C9p0vKH8mLPrsYB0FSOeFnzSuRnVzs4yXUFVJ+/56miz6b5nF5HAJsnFtt96x2s6xsRjmsKfRUSHVCyVLaxB/CrVzzZAnwvfO6/4VdumAEtIs//DTHgcr55Re2VzoSmQNoqyPsl1AW+RC7GtQmjrMRyf0lTMx4UW8HApkSRL1yyURF+b0gawkXp29VDYpE6OLXzMfNwlD4lSJKuzWfld1piiYVQrL4U7lvAd0jsbSsCfYXZwOzNJq8bjRYLhtYfjS9pX91gGTpAeD9dY0LksejS8Np/dpQ0Ql2BlrVMr8w9WPQ1rKaYfb9AqAlivo6QHsksYRkCDnI3QKxt0U2pZpziTrq4BqIQtbHK4tKhfmqgHuv8X467iD92TbLtm3aD6ntkjqJ0rbaKOPW13G+0pE+WArdWdbbOFmGNUqxdX/RN58Sh88BIGrJM+u33f8J/jRJ4lh47NSQE1vathcpItiPYDKqv3Y/YHGHptWQabQA4dDkfLqbKKcTOGIcpwimD/lLZq9WsiYd0Qnl6ictahNV0jiFzkr8R705EIvb+lW5EQveWQIDr2nrZdbWTbX0l/CE7iWpOvAFBynfmVsFAbYlxi4ezbCmc+Og1H04iDXPnz+61l7sBQ8ibT0WWjYQXhG1nexvtLw2+bum/aMjyZKmzEVtzGbXjJ6DEm6cQ2RkKleyabu96MHD3US+27D23EJhlnbaElIpswYacH9KHWOsbUAw3MO4qDAdQ18V3Ptsdx1wPY/7GTYDU3CfGk68E63OJ1DW+uhmaSa0Ib2/+o5MtFBPdAvX64G8ZKVSyi3vxkrkaIS5ssVbk7Ci+E15/mx8Ruj+a10h94N44VhSvDB8nZXU7ydWNDO4tSJClZ+YXbORpPApPO+cce/5i69b5+ufDwjvp1QGOBvIXUPp3VFv2YFoijzWKMdFj83Ju/+IxPpBKnQELAoTOmEk6nyijQpzuX6R7F49ZEbF4A5cpX/oi73IPShqb9R7IJPQXHuoJKap06sVOaWp+m7j2X5PX1FXpGcWXECvFWuto7ElQMdclZZx2yfKm8lgVv16cCdDJR1tZpfHyKdtfYVtE0ud3RkGUJf2h6F8+F/6IFiXEy17mzdBWBDu+tIGEHxG6vVxJjcuO3LXd1omRQYulQRZf516ynNYo12rem43ZTQ+W9zN19hi5DJLXxAQBdaQtKZ9iBrkN3jSviBsmGM8VBapuAVwxlgcu6EsN+5FO92QQSyZqNwIwy3Ep+62qWVHv9tnDc0Gd9zKARQ8x6wwnHw/tXucb2oxzxJexiPCy6DrVtqtot56jT0UDhX97qyVx/XnE+yh9VKwHaEC/hLmlhelty1g9M5SYA3cH+cCQhK061udIX18RUq2AsvEbClbVWCuDoh/O+IlBaRx/tqD61oJS2nRUoPlK/Zo+FTGmbxDa0N/3UevfSBS1c4TjMu/SE4t2tH9GLadVTYxblQ8MIso8gCOKXZofTtF/8pm843fuKoITpFFFS/Cdv2HOVWUvdUuX3WdFn6es2N/71inEx4JsGmbVaKyj9Sa+66dSMhOJTfSafqq/xHsR71gaoz5y/Khj6pJd8ELiKfkuUsmBGtDDkso/i3jXu2VVsuXeH4pJXJr/1Mb/ThukZeHH8+AACZ2ZkGVFJcMfq4a/n6uxRgHgx/HgtCBNO2aTfdMd8LI/R9xZNlhY+iyld52za6RXQ89O/ZxnFKyrJ5LkOBurXW4kiQsM1aN1F/7NbP/iP9fJ68+Ox9NQwESQCGYIU8gR4/V3vEutfv+DtwIvFsTyEZ1YEZSEVJa8T0mvCTB4zcHkfsIJXiIajavsPBTtndV+oUNb8e5OCtpCU7iOHniOQcjgtvNokCpYaWqDhi5k5+BaR7+Zt5XwFMQC0DKkYgnGe3ALpe3ruQS0U/edZCJi65ZHJUHIPYQYSqYECeVWM4Iml+U6Y9qtQQT1tpjMiPeMr0QIgfGopMoNj7n4Ht1L1OVRzvOTsbBHcQR5SepgSv2UnE6DqENI6wuoPQjk6FdVw3S/X6MndEf6c1eOyNXSsPl827MVBmUUefE6dp5cVQaMqmXJT1fAdKbLsaUov1gwjPTLbVAnLe793bGmrBwk74C1e8qbOV8NpHcAbjKjj7yygs/bAHdl2bP23EqMkt7s4fIw35n6LfCSplmzT7h6SidWL03qd9QijOOuxf7djg2ubmJ4ZW3ghaK2RQWVF7sVI+mZ8TPGRTbWLuOlESJEMztYzkejmEWcrT8Dozl+Dz2z/ZvBPMLWsMzN5h/AxcKMqKQksY7nEnOa04ItLiOWfXHeOOBKsrjOCsPvSIYyz6dOcVi0TaguU6p4uDAieUPwsNUoPgbLkN9OKwRU5bIYAyaTN2YXwUMCYIjrrg7S8jRONmQpGgSrEm1y5kFvwRdWMM2gOpZYIxsT8n69OTdO5HrI+ByKOQi0IYHNLNncbYP9b6yrXid63TrrbXFfpOFC29Ehe2CXZV0foOjxr6YPIIG/12nVh+FQ0AyKQc3iZJSyQ4KE/MsykeytkoqFjDFcB+RHdqkX2dsV2Bd5t6WAfRweH99G2XVJu4PcwxfbnR25G/88UiKO328gvYPPrjAi4/pfuQUDEDRrshA6n21zyypAyn/C1Dj1TUo++1O7W7pF0QfH3kDB8aEO0ApkvgCyeZ1Xx7GBqQZw85rrrrIC/JXFflis7pSK6WekH2XbSTdcG3OPwhcSuii6mh9nxmAtct2uZ3viOiNY84pXcEdi09DRn51ZUM9rS50QH8/BgejmHPuzmBkeH7x4UTMfcTCi6UUKquFF3h7swcReyKNdPlmNkSYyC+8MeXJ+gk3PhyQ3v/9Xv4j/IkV0Aj9VHPPsLEC05px7YNNlYuAQKFoOriQX6AuVHzzKNmdRSPG1Jp/fEK9f5XB7Wu5QfFbGliDJfMNYUTjFud5hDA/9Y634p6XPlDkPACuiRTKqH7ejwtKXouJMZrFmZRof+45Z5B2S9LAYchx8uCHTY7UCNGxf08P2LygnDw5hwo2TR5FcG6SD8kKAV49ha36m9NzHhSioP3jJXuSP6AdOsIVQGZM44JyaaqOz6r+UvxtV41mvNleEO9Wje4AFR2bZs7JWBY0VAw6VWqkw+nAl0ytBLm24mnAjXkK/fCqNo19mRRSATkoR6lYFb/MTYWi1CiQqhBbfmYe0RN+Wp2fJ19nIt9H7qO8c68c8126CmF1AngoMF+WhxO1rrTfFYsG817/wKVjwv6PClpexEa8E/z6qlS/4aO9o2Bxuj8e7FpcHdY3Cc+2/0QM8XWsKSEoakh+7yHF9x2UH/r7p7VrIF614enKnFdArMAwMiNM0Ku8SfoMpT2FXAuvGWzduFvmhZaHloRyoSnUN3rVauPE5qhEn33+RHbjnAA4Lq5ftXRJ7iwnEdI6tEn3/1NtlFmVBUm/befbWEnBHPb5G2HRi8nH0dLMWqBwOJNJ00KrX0wOj6gqHN0+hIy+1ZD4VxjftguK8FqW5dAzwZModooKV3D4XUdDzO6bt4ypLB4fsrJrO4VYo8K+YbYwPyx5aVovT4JT8fxD896iOVb93PEPC6qn86mGc1upTRkrEvgn3Jnk2D7KLrvVLG1nKEZvfNu7RamvLi+HFnZbO3qGau9ou7RFH1PhCpSfb4Xm9tGx7N/kxwLZZY5mLf4yDe9Unn+XyKh1nzKQfUnIPdq1pBDxZ1fn7c7deKYRUCxWRKTJUAQ3o8f/+tDclVgiLW8z+QiHkHrIXlBUHfJvHQtEwZLlV8RJ2CVlPllDVN2GJmFokwXATim3LCNt+3o9fTxrc24IToZTz5Qhog85aHoaedY7Vfj581GeO0g4GmOotPh9oPxNM+gbW+kyi96RSmBOEZpQJZTmOnhdqdrJ8uUgC5jE7pGOD2mmQ7kbJRmf2lsW8hJTtnUJc5vI8MZdydbYBL6lRDkaAiwP1ODGrf/eMNcbZz1efWAD7TgD92zi8GYNh2u47u01Br5Qp+RWUkEiDVX8NyOD3nOPq16DGk6pf0/oW/RIOBni/LnFzJOaS41BAvp4P3LY2nA3ky1n5gSQ84EinW8nY0YD8SxjNcUMuMdrrR6Yb1WDtU4Lh1IK4I+KhyLVe1SULB7mUFiPtXVuCaFmk8+85pNbPeISLRAnvUVVSUQuX1bm5EReyyd0RE77NMBeWZys/L7I8RItJycSPHL7lHS3PNytZs54q5czjlgkb5Rbgva2uIy4pb7klJ8hycI9FDolfou1IoPDFva0ALidtMEoZHnY1DkfIX62hBBgJY4uHL8OuOemFkx2UKBN0kSfucCGnO+clyHLoo1Eb5Jg0EV+++1pzUJVuoMa7ENqUP1RUMySIDxGH06uJJqZ3Lf8kJ/7kNbc5wV9M3en+njgonedBOAvrfCYawiyo54zHo+WF/qb7I5Y0eG/d9Gn8NR6Zkb1zEcBTTgy70RV2Ow5yaaWHMhuI0hZxStzLOcm9WbCHcVUUiLsoAAkFJsnG3KdiYIKUWihlcIkaPgf583fZb7x6Juzqd0V6g0mELNbz+3APbq5p5CBU9dOh24JXupdsD/0E1cb+H4+YKm/t5MEs8jMvlU0p3hx9KrarQavKbeYS7+ZpI3DwCAmAHdhsDmwGFxqOmdcwIw7FWdjGK+SlOht/f7aU4xhVvY5gWq1iH7/yr21wNCf3FaWd9K21wmyxrf2frHlTiDpuCVTLex4jf3HA9id0lCxiaiZ77DEvRvq44Ku43gewV2YQLHnDxIBdZ7fA7XBoC4ayNhFHuEZN2WDFz0YsKDWkR/OHQP4qmW7Xu9+AwFzzph3c0FStQ4b+EeGvWu9UT53EWgt5CT7vShwTBSlD4cBOk0ffm9lmVcF+TKGe+F9NeSB16cvlHjnprMjValijinp0RBCmb40oYGy6yu3N5hceEK02Ovq2hFeBMncz4I1x0iHJFix/5Qi0RNPBVorBEujpteR4hLGJzLJBrw+Pg8eUsL13TxSN2w2OJhXpH/4F52o2N6iLggt7PdwlvTWq8NcWyO4HLtf3NvwVpxVPJpZpRtrt6xWmGThXhLXzPmT5e2J2p4WPKPv6QvEiHNU6fP+XWLq74/1XHpwaLnlVnOZIuJ95EI6iHCAPobyncMAxFNK/fMbHme5yVXatdCOlNIoi8HQmhvGD5hrlHxGyl50iA8Ds5Hy0Uh+cuqD25E+YjS67uMmHVcN8ntyqt3lClos8ZOMlTA0dB0syB8GzXOfatRksYQhZUP6YCRyVPLqDF/7kZf55YoAtIJr9pmxrbAtWLcQy/PoGwN+RgU6K6FZcvhsV9TGg7y8OXhIaGCX/gRaXnI2qpJ72rL+jHn/2TqyQnskEgFE2zgbUUIWItv/lLe+T2pMCCLTVLkr3igZCvf2pRXj91cXpQQKHnuWD60/iH52U1R8eNl4yNmR7OzdgNkqPAgWQe4luw/gqmH+oXybQgcXVU45XkQ3WlGP1Y2i2PM7wUujlHdrIt2OqJ3tkG8jig4hW/JCilc5dO2luRBLr7ul3Okn45cmewOw32Cp6hjUCLlonGfZA6szMMpKm3HlMNOZZzWIGH9U0QOwW+arJwYpYWP4Ou6S0S5+X0rVcqxfIgZqsuAAz7EKeZTxhLM2TJSXT4SrrflRZpcc42xBN90bRtmqn9Gq2N/+bTLiK/zyKAX8uLEcQf+92QUXub/qBExt4m8R+cnHDqjlGEuDejPt+64+BeygkY9nIfO4o8y2KKi80kVtFVd20so5gSddSp3lr3lLflkCDKHyxu2rr8dOvVKc4jOMefSSnDjLjb/bDAc6UTdIUktfl+ZdGxQBcDBpEZOIdf2IPEoPFfaH3FXc0GLPBU61g+5pehZAS+6pd/AS6NUBivkogZAcRWPBp1KlgrxvQW3qrQZNnsFgxmmFUz4e3iv3+bT05AVCxQq0b6m/Cvn+hszN/ZQkhDjrTfXfl2fEDK5KNpIjW8J3RfZYIc8jXycJMl5VPT6xQH53a2SBf9PUw/dI7LqjC7gjhLZ2SJlKButszJd03LxIEn5C/v2G+tqDJD2qNe/YU2/dlTkjpV5BqS8L76oEnebn8+HXiBGjlmzoXmjFMMmy/Q0w57pH5/q27aangvRhYjEMUilFoqIUFGg+1y5ipQgPm6amAl7X/TvE1CAkzzK8I5zIVw+xUb533EAuhRbefgKrzJimXHdLq9ofF3zV9iXQdwxS6PrQnz6QE38DOMnfIkDPr7UfjYAgrLRDU6djlbGC5HIAxpQXZahIgwh+b/b5eMugfUtfi7P4kY3ZPOOTuIc9kC442W8jHAiwHEC1EkLrhD4vvyvGldcSRoFKUzZ57hLbbimWc7k0eBFVSoVRcfJyZqBOjJGfeXbqmqTujvf5Pf/iddkGXt0YMca2axUvUM2D4CKHENOMXJ3LX4AHgVjM4Wxj66YGF9adxb/SqRe2YkzYuoNdvxBdDbTfpp/+7LwWBfcoU/r4b/2lQcuJ5bYOr3UTMiHSVoL1LHzFe6KdkIiN7TSiAfP/MPGk82HKGyPfieglE+XdnjwgJ2spZzKFPTqTe7C7HE2709YMAHH08c4CwWcqVDzQ1XRlRRW/zhtBoiKk0y4uSGAgWamjUqJW7D22cZTc+rZPHYNf9KHv/A3fqmA0VwMT+uOTsuqpSRhJAD3qG1hCvZ0z4eA6RWhiwWLgnX0ZfffljJ/quiJPVLw+zFFQue/jrPsKMspY0FU2UacMiYJRB0UHtm0Rqr1eNBKKobE4CocA96dzshvmcbATldLlRPFEhC+QZQVBzPd7o2iovZc2QfsdI847y7HeT64wfSGVyXTFnq51by3yodJDOihQEocqPxjzr/qpmSQHCkssfz0Sjsn+NMhXmmI1fsEcLPJLmUGt4wkF5+6mTqTTaWzF/VkTDOd9ujmWomEeqIBzXZq7vSW0FZ/4JJU/MqH/gfSUYK43SthZ5tjVI7tFhvABPaM/zhyPoyOmuzaLUKcrvuBqK3R6TtLDgagiXjFgbDu7Msq+5L3I0maN08ydcgaggB7XvmGmgd9QU9Shqw5R3MyY1RqvjRTqp6ciTGwpBdzr/YvCwnxa5kROVeaX5cgvfUkhZ3CFzzsZ7A/14GeicSJAy7GrlnH7ZbsmVnyAyr0tVRbbzqNq5I5W3C/8NBAyHt265QhX+d4pVvOYxJ6KpIMu1+hkNFIsxoHVAe0JkZO+zvW+rGhLUtJDAtx3lK6g+DJCXV/+JjgKYrGqtfzQZNQwZ4Bq/vxRX9cbCNVIZp62RHd9qASIrItp6iSRuwLgrU/wKT3eJxwtX5Cdf5tDDfusdQWzp4MBJ1V2rOgedmJyjXVXNGjKDKfF3c3GJ7Jxsf9ikehITOEHoHa2RKUt4Pz/yAAuS+Gol09GkUAi33bCkSt0jEY6/8cflOK+yniR6FwAEgXDZ7M4j8WXu1JvO6GRF+s78fByFzfUHDPWcgpMNXEbx0NqCne0NpsxTSutHE7sBf3EPJe0OKYaCOhPmda4pwbDI0XTiG2Mk9OCEcHUNG5KSFPQDfXQXc8OBZCK4m05YIEUgztj29LDvqyOBjpu2nV6A6eulLXKgYeLc09RmpQrq5kfT52IsxwWM8ba3TRVqTc7Va/7VGJltNSmqNqFsmUZFqKaF3qMuSmdBSLoLToiecsreaEsv7cHNqa+bhY2vFWMzbLjaaZeHovBrFjK/xw4yGHJfxFtRlfP6hcVnhNizbNkj3MFMWFrzJtqj5GTISvF10q3K5Ru8zp/bTsF58gZmDhciXCs4PgGCL1upn0V+fzPunZ8ietIXKHFDb7IHp2iHO1vsUNvGPa5Tv874h5jFhoaSxuLE7wUlJf7Pf7CuKnAyHyE0kbcfUNRvYrn4msdlNoIVssrNPm5XRwbszuKl2LpIE/DhFSMshXRKhLTPOH4LIvcSAK2Dx+9Zi4Mz90tAmB/BIjAXamAlOrjffXxY4RI/D3b2YrmUHxwyLvpVj1Y9jMlN0vTzXxVnof4MnhaMlW9m2m/iyWkAIJydlk9AFcFcpAL0ZNAQL/1yO0Adj6Gxvaqe+NhcOfPrWTkFFidkmMwe4uwg+suEujnnEW56oBA6f9APLIUriQbjk3uuiewBrZe3ftrezsNBUQpOYIblsgIYlzuBJtfeoLVtQK3Z1pxFYU3cIGVSA5pHPqEyTHF9gZd1ohQYNw0ySKdFN8zUQROyQ7B5RhwIDYOU7ZAD8eB5/TMNK/UqbvngSsIo87rb3g7TuOoTIgG4tbC0gZofDcYdzIjEo/3Aq25C+vbZ1x8HLkwXCu9/vCAkJOGnbHYuUv1ZGPDf3TSStQ9qm3hcrtIavln58B33ARuyQ613ecim7+nkXc6+SCT9nite7fxLGEznj4Vs/arkZteAyuB7Vyn7aAdb3PVax4xK7V9T8CTIpRI2KN9fSj4fAyqigkTubp64ckQx5awAvU1odeG5SZqWNqg0tBF6H17TE/Bbg5AnIqubj0yAblh4i2f783xTRkfQru+F8UCWeMLQ3E9FuHfZibxdGLu4V5ydcYuvfSn5WMRm/IoD9Ol7ni4pa0BK/M3wAdZHbnJkBuyoMl+ofhDVUn22b0c8ItrO+d2fcemKkJDlEpjjC6zitG7XIUwyhEfwPZ7n0h7oAEzP0+9Ox1pFjDmEGYdr0YBTL5rj4Vq9g7SZVOkyLYNPYYItXsJOAcJ5xYGaX2dN0a8UdxMb5Fk7vVUh+4svVBKbCMcHivRvSWOLog/IOtl/NULd+NWpbPLUNgc9GHfxKK1aN3LJoy0HfRdOuJoaZ83J8jSNUxNQo3GeiSK+xG80jMvqLnZC9UD6T/yfqY4Ad6aDjb32t10n8jq3l/qUG+Wo9bmRSIHCWp+4MpbtvpoTM52n9nPFhfcIYhHcFmbypqXvGKQpIq9wFIcx9DRWYwQDsFKlB0vSQ7xam03bBu+X3R1nqdHNr+9laUL4Qq1jbCMS0aSjqhF/t00RBc+JZE7XEAcXUaSv1It8hB73LODXcZOpmdTmUllxicI0CUWx7tgF1BrVMp25xEALQuFvnthI/NTZVn8j+RIEgmZXspMeDd/qWCrRCu4SM9F/XvEcbMd5Ksiapq/DRolVdha6NtvyP4gM6cFQiozhhtRcp3c6X56/hExOjMlPdyaYc9O/fiPLTJWQc+n1fjWrdqDOQ+B1XYLk7r95itWkYHa2LAMegO4SkGe5WntKS0E1v736EbFuLS4rBH6pkC04XKW4b5WShdroToOV0iHtLf+CT6u4O0o0TU9xkdlj2TC/vQFMh0d1hhS/zODWyj4nRjO7IKLI6i/cbJAqX6v8Xg7C9yPCJxIyLwCKVdo2X+5PgpTq150SmfT0CfWsFBH1DSEWlJs/lSFqJF77TeC64Y3z3sRH94r5JWfwGYA/bBJGOZhuoNzYvUkdpSWcJmi6KYEH91iF7AC+YuinKK0/uRorYY8cby1BzXriNDoH9vOUpVIvfTsoTuJZOD49tTbZAyz06cCilbT7zRVZ7n6zxiVy1PDDXjJclGY0+i51GiXY8aKGVwJ0vh9u7mWZQ9/+M1OhPi9whKwA8WKrZqDXHJaA6EaPxl0fyrOupzU5kKA8DkBfPcRlM6zXSEJDLBGEIljF+D4CE6vqy7x92r+Brsrd8RC/cCWAAFZtmvPey7Qv+C2NlqdumB3zJ/JJ7z/nnAjLiuMRLP77iJLKVyUKkLXadEoJEFwKtKPNeiP222GjILENGCFmnbJ684GUyevefvQqkR0wRY07ARJYTIGApj2xSA9DfAXUa5l2kAx9469WWKPDJ2CnqYPTWN21/DhknI2Ea768FiAdfs0nOWgZ59+1aWDiCMfk2pkBR9CCS+n9GdvvNe6PGg9SbdNLP7oy5GmCNDdoE2yI2f8z7fagX1fCmq0xyoBczMf7DJLdmQ60Ajr/f6iPTYBx59inKJYgBu2nvVUfMpbrDg6PF8Kbjf3gFXFrsAuFI5VHJpoM0C9MSGuE9bm/Pp8CZgsTfPCV+WKgYr5twNyqDdv29X277/UMxN1y/JKvW6jjGgil3Dj0Eh1DDUM/u46d8nSoSXWDa1AXuvVLcX+dAQsbhEwp4+tWg1jtJ2GeA81C3/QIyb3nVX3OrsPJP7rNCiEAcfK/Ha6rIgd6T8OO58yBivESS4XVI+6IJ29YaVcOcqJSXnYWV/6aaOO3JBjSOxVePOMk34NwNulDHD2/DJVxLZbGuFhtQqgMBkJsINmuUACcgpkZb1vjin6YwkKPvyihVfCGj7bvkoyLtDHXT7tVoacd9smfUTTaozTSBbbYKnfVKGVVtnpEUaYs7Kz7c8mkn9d57Dfey1eMLXwiHmXU67USqhNUx9Kgj4CZZq/xTgJ8wOpaADQPI8EdXsuNAfkQdUtKoEaF8a0hQfam7azg20F4PuvcYN6L8eGY+CYVmT0WVjprHgycDe9OiXonARLacOfhKvHpuntL3n0U9jERXQbzqTbzhviBzuXwNE25GN9xJg+cTOPUYQL5W7/MQk1Ol2qW/vp3/WjzoSF5JmbYvsqFvwEGPf8gwVV6GPFbwRQVYSTsmC0i6bXL7FGElzC4WQzKeREm/NC5vnaAyNFUNuQGi1wO6NE9bBlY42cGnMNcQ+Ohij277cYnrRZhvi1fGrTcBm8zwB3Gqo429WKk8R1iXNU6EHj/GBRbRXRcpFN4ATdxBBMtNcTfTNANNJtyADcc6zfqi9LZ+aVsgKBj2KwNiAuCrwOSEbEFXAdFwMA/vNSnYiq7/DTS9LnfZrweC1Fez3reNEzZ+sNr4jjNxEDJS+9YBoc9QD3OoWiQGQ4RARvZvWSXPf+BxVLZ5GcwBni2Zw7h9NEr6G4UOyNwQTVwcaUoyGI7OYE4t2wJ8cfkIGzOgXjOnSOstZG7J3QBgWusskop4wNeiJwCCpefhHfqiv/es7lSompNSlwN1KxQ5jRQYmFmCsoTb6MlUIRMsKu5EAqKr//FuLoT97roQt09+Dyc1lVaxIsayv8MoheelMk4S4DWIf93+rRksGaOela6xQBq8tQxSkPRazDUHkSwj0I5d/lSipEAMbfDW9ukQflacwV9rr23H2W+a0XZLkk9kVL4kx6mwZSsbOGCo9A0toCT9Uh+bRPcPG9+g+Hv69kqxjMf18+myFzxBUknvHbQZRfTyr44jS+6OoNcNtJ8hgpx0JJWchJOhGospUmVA3agHYjKwj39BnLkX68sYtImxsvUzzb6p1zHuFAOT5bI3Ftmioq2WLjOnm3FvJl7BqAAmTR9O1q2P+IKFfZzQ35HQD6XTPTgmJdcQLL6NWT5+3ZlWnzumVMjeLcruVqzYTMqujCb+pumODBWHjG+TsiF+/ur2o2QZUms/zBEmUPVo9renl02wd5UelxpTr4AAWKGZfD36i/nkQfop2Hfu+U2BTUv4+L/8/Pzc4DixGlVhFP2WCvHv597dR3Sz/BBn8z3yYZESKbhW1ctcafNvJFLRityM75ggJeWt9yJ7fPazGxNrVE0/ieKLRMbrrDqR/2uhJHdy7EY14ecmamrQRbEn/TC64kuWmK6soUrGTJRpqfRuI4jjAGWL+/XVK5iKaeXvImNik9+9lNaeji9fgCFRp+9USHavS9V8/qf0mckcdPYC2GX/zXVWslt1IvbSZ1fAIB5mfY0fp6unwgEyELYPlFDJbL4DKMvp5gSN6UxuZAumYY2rcKExQQgP/fQUTuTmHopNKmjlvPB2MCPjAS0/Jl50o+WG4Yn4VZBLtIwFIZpN1kIT6WDcom14RjYUkubX3jOfVAtmrD6f4AoJf6Bo7cebi41tvQCwFzVTU0kjJdODA4auk/GlkoQF/F12DHmqlBCrImwLJQb3PNdf44OEDCtZTFuWiu1ujRazsZtWslrTZ55NIkWkFYGZRNurFP1g7YvApfkMgeRZhNjZ37E7/Txvo4ezRC/uUS7YYIQAMrkZLURbzWOzxWz1UlxXf2NUN46Ge/TY+241O+Z0ag4NkTv3CjqjIX4XeHcMXqI0+OobqbYmYp1FnxiumInh1kQqB7XuQSFaATBTEy+gjxW7RsKlE77J2R+uvfc8E4g8SVB879SmHXI2CkqNb1svT8u++1RJYap/PYT+BSeviKskYeASP6djqrWKnEDN+hso36Dk4gAUjJMTmWQlXjVQxbXlSEzsq5UanKQf6mQEeBjZ0cFGkJzZzgctgShOVjsQpDghgLS87HnKjO0nMyag+uK3xvOS6cO8niQ53Xr030Ar3MtSVSTNnr23Lh14PGjZFUffcvQemuGTdYRtwG6uEN41foF1c0K0zTXKQnMjSCckUVxnxGP2rjhAMrYcaf47E/nocVP4dDmORbByPExQbitngaTfZMwrb0IwSPfZzL5Z2qgizQWed4P9P3yssEEgOqCVetaPDKdVy2l8zLGd3Xl37515I6vJwSYXv1qpKU8cEP754ZBnUrtxOEOYVNrCrmTK4tgOpWPqIh9/VUASILAVgEXEGW5VvU0oi+guQxETGtkbRupnuOhpdCnjLDFC6BV88Vkp9pj7tMt+uwI17IRoZ0B3nETabirs+XyWfD7r22a2H6Ev1nJcjqU078lSZ2KPdNWYZKhSXXhG7gvJiUrLCIgWKlZQJy6CKfw+u63Rf38YDWCKEk4Hej6vAJti6gC+OqN7etVVGtFlQkIeiw2qU7bxTxtQHa2EJBV+kXXiUe5upgPhcsFh4C9CwAhpvFJzYhqYqYbhuRlhKLNwuhM/tBe4uEATvONrgW2eKLNDT8/86X/8PpJ6Bwn5FT+7rvb3n3SBj3J3j44DAJVsMNidRUqIJ/zbPR7OIc61pdW4Fjns3AZrcQqIRYQYnoLuWS6qrPl06yKXYBNrP5D1ah2HAkJi3jnvhsVUYZUAMW6eyujuIpZpgQx/UVsEqgh3HUEyGwIOcxe7f3Ils8VnQsvem/rfMPjx3HtJwbFa8qs+/83TcPSkdZnvF9mRofdxXTEKDnbbvSrgtV8fKAsHKrHLaUsjcZbrKlP863zRDO98o9VEeE0RSp5pdFHgXt/WNa3WTZt+XAK9w+DWa9jX984AZSMw6lAboaFhb+EpUdCSkEuGiqkMQK+uxY0PUNyNGsZv6pdL7OI6cPpTM75OZDqBJfaCwJ92ffRFNY9QFyiovtvCTPSKCezFOwhUmAdmy3kcm23lSou/fUTyzyP35gDJT5DyjcxK6guhdAe/hqeLnMGXYNok7Z1JhSdrd56cOvafvwLXhkra3mnFp5YGOj3eVryPq/nOJHvXF8MRUQFFgDyzDSkH9N7DClXe8cByySseP+TpOPX4NXLW5HPFN9iSvVV00cpqrHGhi3hRXno++Eo1cUp/+ADMwi6EI329bqnqpRYENKNv2Y/VQhtts5yIfiIOOOfpS7cqskZjDtgsq7JN6643qpcj+iPVV4YWTMCTQCd8pduXwuISquOeZ8EmQBBx6FdZM6KoS2Y+dAAXsvFeq2hQr6H5OHzPptcY8QjMaaQyeX+d4z//fPlEfNNxJzkFyED65AQ2KxU/uGUHtkbbqu3hS15Uix0pje/he4jkqCD1IWMy8cJc31hB6xbNP/mHQNn9hspxwsHlisrZY4rUVDONFmyFHAL2npNUccgK675T3yJWF8iEmIUcD7AcZpLL9NNn1F1s0BFR9bMfpCYndfezwgb+E79LCwkVCdJMm/F+m/ybpM4KbA4tGfgwfaEH56TlvlFoFO7Xl8gw9KV37vjvhSWqMpvXSDYekat2Ikpok3FbPM1tYtlkWgopcIyAVmVjnbmqGY33emdzhwgpxY9fmo+syCvnVmnmbHUgJz88EuLPaRvmzuvrY1UAvsYXImDBiOKglEA00KwpM/RalIuFzsjtlqy8ul+kjswbN7s1pHNTw79xNBD6Kl1dKOdNAij3mFWjjul1r95cuBjYUkaMWLJW6zzoZMVXNQo7MaiKXBUAGTHMtZYa9UTuNxq5AfNG2ia8tUsh+pqx+nBCSRTKw3zHxMuWm1xKbXVqWXyw+0hUCe8zvMCHw0LHLOmr1sfv+AMz6XZ2QD0tn1jLfnvzfMfyTsGOl857VX/MQvzRuVkB7+tMj2RbOptYi3dw1dpohVwiJxaddLxvyXWqFW31NCuU6xSsYSpskuk1doI7mxJvvW/c+ItO78vIsI3GB2cPDjqTGn8Kgv/Lo57VzmojGxTtkIWg2N0k27Kemg4s+rIpo/tqHukjcI3BKB2LEZhMIPSi6/XeBear91XjFYMEEZh0mcF92PDCWGvU0BGDFdXw9VHddjzU7UQjgkoJmjPcsmy6mVEGAcva4A7kG/syZRQlVRs9vgQSujegc7h9xf3F4/QJnzqFUWBEmmFRtuKMLLE4Q2gQsDvlEiYnjqbHDKkZQyfdGv/haL2U4Ny9cvIxMgRrzgF2qQuqq08OeAKQrBvfzBELSkxdHmV8viPlL60IRbEwCC/GaECOlYFfkD96j8s7IT1UsnW4p17JA623FbpZwc1pBULj8KnpKbm9YwodPjN2ykeN12SNmM4D4r5p/t05iEoYWpqvy7BlvTj8dqGJSLHcGTSxGmfI4f8X4yv83jjFydZnMX1LW9a0nMZmYZuJluzF9fv9iETaxrReQtEnzwZTCkF0cyDVt/lbyoOgAq+feOhanfxuF4aOG33KbMMogTPRe8Fj7V/Ri+Rvk1UKwXbNNg6l3T26DSk/smWaCdQc7CyBXjqHALbrXiLhajpBYncOWrgOuxCZLL2JpnRRf4IgdKOj6IqUJRiVVOPJTyMOJJGW+Kzacr7zKLLO61r8a9G1DFyTiig8V8U1Y92YaVNcj6NUY2dhXTZ1j0G+ySuWaGATtqZjKyIV1gQ50KAf4z9u8a7AfQmRVqlPtxNfD8+/3G5BlCp3GuWciCWIZ5qW1gJgoiDE04VQrZhYBEA6Iu1CumzHsK/yAKpug0bm/Y4b7mSx216NNN5+wwvhLnjnZOxaHg1XbX/AceWOac+S/jSpMDaCfM7+H8v57rTusenhL+M4MHXGPxbj4ie/kBp1bNJD1uG0RLO3Ol4DR2VKom7smfi/X5Z/eau0VUIssRJOP5ezmkyVTqQSqC9tTgr2lF6KrfmgCk60RWDiyI9mkBr6aUxNmc8u4OIZhR05/64p1yyeGvho8Jc6WZdWE52m/FwrgCTnJ8JZHg69mJeV1xhX9bjtnycEZX3hsAoXbZLlGDkCIeBiF0mg3BqGgU78cdN/dFKKOTGGU4oN5yqxnGspR8mnWuqBXOiRntcprto6FFNzGDLDwfcVMN9xLEaaoMmx5ggbwRwc3hcu4BgE4cUMGRNw+wwY98OJ0W9K9OyqQJloh5jTpuDq3Ywxmj7LwWoKl++KIdm1GEkJ0/AmKC3wLOBxZihgCL2YBiwOppqpWU9fKhVS/i08Uxc7jGRmKgf2+frLFf3KMQ/OMWzwVjv6/mVwXIDHehN/1vVP9g10UzUUL0RacOhGkbMyDPSUIJC1G5ioTQ7gMOxE2F9Ipy/SkKsFz0kczZqb4YJcs9Dex30LYbVvH7CiO5zHaUqH+h7FbkwgwJ2pr2FE5xYQs3+tlxlrum6m8HclJNP2XFAsIkOdbH7HEMOu55pljUTVq6E0h+v9UyVM+RXDRUmKm2x1W52WBcIiM9owkTmfbGi0M7saRBuDDHt03XJ3pWPQOKNx30oA/Zkt/EVicRKE+b2jTCrhGHngJb0lxOsvHx8PjcI/EnX72Gsqml7oVpoOtaDVN2AUJiu9vzT9FV8VEqHx6gZDiFWDieQtZWVWEEnWfC94ovQfNQwNJGEnXfp2jR9RD3Zz31JrjPRMgKoZrpL/HE3ragKWZVRItOsGyoeXwNQwe+y3398v8Rrif+KvKcq2CPXc+qITiPAp4jiARAOmvUu+9WkUjOpp6BEP7cfVMjTLeorjyTwxWkRKkGuifiG2A3u3T1BeCpuAudFOcs2c96kUKkcJmaxX6Wsrf2AoJ7KbpMdedQSm+jJL7BWrbWqXxs7H98bQTCwSl9iHJPxZVAUm+zwKbJw3MzAwvdXt7KnISLyEGvEwuHMUT8QJmdU62fzIId1LKqNLX+g+vCdj1oN5ctYQmTCW/6QcevScns4rLeIrUHLXIeiT5o+3/sUn6SRBEV1hnpaKiRC2x3dfhyjnlH7wW6T+f2OmOvK0F4G7JBhKQpsGtf9ATdjTonx7HBIaWVWzUWlDj0hjxnJJFnlECUexUBFWefX+QnGPL+Ke9xAGanRryq3dvmm5/nYjrEq9Du1lwWKolFHQKeWKfdduxT9KL1WEJ+KUNqUQJr6leEqT/+7pkNm2vwUydbLcyjRIl1Q30v1kCPxiDLVHQqrv4TkY/l/imw9BgoNqHr79OE1+fp9AMXRSXHyR+U9MuEmqPg1kLvhlgDKgUy0V9Gkew/rZMtgHILhd7PqVCMHb6DtcRaX9/Z65SoB17qKEsU/zpp+wpiuXio9FflSD8fSewdSBnpohLnrDo4z5mm5DslFlrfNGvu1q3G9VCT9W3OjRYFqqp0hzgtXdNvMZA9i88t7rvKEY7+ZvrBv5J3HTEt0cS1Ot+dASEjoIBPrPSdZxAEFfxMTr/e+qtY6rTmsF3cu38HmiSnAo1bU2Wg6jXeXtnaHq01qPrf0eDbZP0Tz3aw1yOsMG6pQ3qnZ6SpAlyJo5VjiGjIZdzhPRVes1j9EvESCNMXR8XRzVwlV358ITHvdJTEyX5a/63XtAaLNIVjoPzVxAPS7G8SLnBdHFgXN1CP/H3JQusaoIgK17IGp8IGr4YCtYeBe+tRJD79xSHzQFQbROb5XBPGRck+kheyQM55VH79BnKd4ifIhXtgJeFv3kQ2TpFz9rNrvf+jKl4iYNgRnONq2Z5RE/diF2VuctBBNGZsu/KaiWlR9Gi2QtZ+pBgCxMwh0asWcuLWiofHc5GhCwHLx7vSZlHrDsoSkuKKccVGTbokELb9Ok4zCqXDhSnwjRLMawj4dBuFI/sHKgZqwnuztC1oX3GSykft0H/d3St8RGuvyMIzQ1DyvRLb8l/VtvMz1hcGIiehlYWqGHD3N1iinBDodB/L2465y8a0qisTDrFhlil/7oAWxt6zWEXC3ZyiwpW0N7BdFAxmoMqRrjiLPd+zzCjMdKPP3g0wTsiVTMYE3u1Z+/cG7hbZQUGcgpUOY3FYEPzCMQwbKuOzN1W0qh0jxrSbASMGzKDYUi3V27a3s2gj7rWjcGIuIWf/K4YpaB5JeW3kO34/We6C9/zuSX6sRFei0WH8ZM71h1umaNUEUrvA4fhHpv6K0t+Jo6f8Dn2MRXUlK3ZzBbR6Keo/AQfdEjaFJ4Tnlt79GLyMWtsHyXfcZ3BWyqNflYcGZBQnuq770E3Oot5a9yPytK0WPH84Gd4U/P3fc50H6r0kgv1hSKxe8dr0k7LT/lkWkavVWBlE+0+NdhHpIrIzJS5PrRRpqTmrNnDEBeTwvKqQtkTAApJsDw3194TEgtH9EVGUy68jmR59RsaaxWjUcCGFHwGQ2VB8g0pK8acZ1zJWWDx3itzfxhHipJrQM7eE625ZWu3dVR/pk+Gutn7zAsAsTwLmqfCIWjC/fbPZ8wo7PSrDBy7rBQc+g6btwH4x1LrhzJUjk6hkhReYsuX6yLIwJ2C96tW/qHV+9BFxtSnZsG6Rebju0c4dZHq2JjI7DvS3u4Hat3dopS+OskIcLT/Yi80dbhSNaE4r2/8Ttqo10lbaIJefNdrHkXrDNElGPkhM4YlO+zwBFuuO6SnF0Z5ewFVoxemIw5w8Qjid+u6hYbvhzcFhOK6L3xDuEFcljV0nd/CmE7dM/Pu3mD4mWMW+5EXSGIVX1/B1QRv3m7cQ22ax+I4oVqXQVn4Us1aj9m0ABCU16o8Eb8NaBGIz/zMDbdfsh1TWxwKnOIeIYc/LLqjaQn9oWpvKqu86h0E9GyuOzD9h9fnEO+POcacq4ZzeqDlrNiwTkfrlcE7q+bZH+jjUV3optOprrpineD81vMb3Dksn86EwfLTzGwpJU+gGiAMltZhpObA129DH7uMkJr3kIkyvkDUZyvjWcz7kkH+iJ8AB80xw5zEuwCflN3wBWOaY4PdV4NkFvKHuzyi98RHz8DTl7ntRwhsbMaaAWotmzRnA/LkT9MuRlLPdHeAx+3U3Ft8TWMDBQWZUNiGhTVGfIqaOoP8oUO2kZetb4Tp2eenqLFih70+N4W/A3q5yIHO1oX4Ixq/QbqeWUphWQ7WA0W2sEyxrCkCwFNkjdrGgvvAeREOKnqN4iyT5SVebl2BIAfjxg1P2LtZ2m7Q7dVkJUl74x02TjGIyVGOnvkeubG29OVqnacGsRpBrZMP2m5A9JQQVsyZED88HQEhyhojvWRga1lYbPjMqYwf9M/F/IsBc0u7zwZxyLKC8mboQ9853M/dGMpBqZCSL6RUwrvYV8uKCE5mTTcYBjMpecybM0xjJ5Hx3x4OyZcqDBiLGbgV44xe0z0pL7CDjHnVdNmKi2wDcnObsWxlsWS/PjgLIApGSSlA+eZes4w1RJUFN4xDrUT61V6ej3PwQ8cM3BxQdDvTxShq3bdjKWTufsNO92s1VKc8C0ODvqB1CJDR6WaA2bJopisYhRK5HqJSIBMk5MmzjPBQuCs3cRAzcfr89IhP13nbIx1xumCc+sVdey1sq5Vuh8S5RzrVuRyWGCEGGv98YJuIKKQJpLlD6cPBLeX+roWeiFMwIbUv+b1sEOCUnrGU0fZZIuJwWADi0EjLOCTxxqTzzEqetG2EN47NW9pZFpyTVcMlKeKVA/5CQ8AvSYX14cgDFdmoJvFD1WrwpVLvyiVf3hd4flkY0xKWvSTWlJNbM+Kp1xYW/u6hrxK0tUbQLfi9QprPOAc3xnd1Qe2hh9n9iB+t4yyK75R/poH0qrkdRJLQQxK4ocBkcmbKqwVeMg4qmn8rWZp+Rt7wE6cNXA4ZJ296H9splWxXi0MDjRSZX4f4gvM1NjygV9qsne3spOtHkeVUF7+DxS98XSHWPcnZDh3qxpeVQkw+sFJokANOSL/iAna8NXqEOXqyENP7BsnWeZ8AGPzSoyfOw2hNCHPO22Di9trEccb7OhvViuv956JzFX5YWJSVmXEn4qQ1Ig2SBqwvguc6M8ubMnWkc77lPgAnE+NK5ya4sCEDhwaR0PTeCv+iz7Ni5APo+QCNJ3yplgb7e1zRuZa8dN4zunbUIc4sXu+S0EfB+63zz4PE3vtJaAJvw2mKpHW15Cmp26KHOtEFFrHnqSKhmPz/JQVzhlc5c8uxs6/RmgaUc8PZ+HvOODxZnuPrJmtwFeOanPZYy67YrYxbIlsOnpaxDFp7aDIQfkmA2t6iwHjhUlTuXvbNXxblcvbsA/JZ/KRbgIO82vnja2MYuk5zJRAc23Sw9W1yqrkNjpKqNSc+nJGw9HVT4E51gYXmgvoVe6w+KKaHU/TR1Ct76IBCIiz7C1y2UNlyOyw4GcErxIdFGB/dI1n6ZbEuCoLilWvl93rDjxIfUn8rGM1pc/BAdvvTD2WWO43l8RQv+bRb0JBiiC7Kj1KgCVktLIzRbsat3DdN++G8VB57lnm6segWB8iwnopuFSsav/kL9cjHRVhZJmuakzsqrprUuKD5B06xBzhei45X/3VboTeg+J+O+T34kChrx8A1a+fu6TIwu1o/4Yl6mlOAg4edejZucTb21R55D3fU6a7Kpznf1t+lNfbA501jh3miPgg/yTSt822lgppIlPo9fzukxCejkPsqfwsLn9unbzi96C57iwlTMOxbXb1JFkdaIfxDp3TC/QuHqa8PO/QMxy1/DEjMHLlrLQ1I0UEqCrGlH8NJ70ntETp0xM1V5h/zl1pamhrPkaL+ADI/BJqNODzg+SC+lqI1v9vF26IkAcKDaZHKg632coQ5yQ2kbcp8ZjARhFXDCBVQR4tp1A41J39hbSpsKgMBtSrg3VhQ5jVVC01i2oWghBgkeohfDl2ddwkP6eSDIZ//6dqK/vfKxoYTTTgT+h9Ri7mK/Jj9UW0TagAuH7QF+eDM0XRfsK1rpfkN5RIZfD6Wbs9aFWsvDoAsHYAFRL/oNq5iAek+oZOlbQ+axhuAEG/J1WNQbLRgg1YMI8jxKLLF9lL70XFQD7ySZCnm4P45qaJ/xyo9HIk5N3oc95GVivad+gB4E0mGRMNB76b6NFBEFDe+CIJGr06bp4FYmtfpULPhQX4jMRz1J8qxyUCX5r1XvpMtxA/7Yy5KinC3tbNhY8rpGE7YPg+jFBJOOEEyckhCk018+1Hk7JJXIeRD128eeP3IaOMYeuyj/zEAZlZbyunNGZrbhhqfBgovXWKxtkfnEMwgi42zKYlmZ5oHu4lh6QjmY6E4/1DOkL1mqt++INhviaNF4fHngP+IgqDrqPlK/XnSFppIyY4cKA3HoeUTlyhDxzXx/PjOC0N25yhdxIMNCXKau/6swq0wbZ0JF0NfHXgMxxoCPLE8gVK6Xt8nuSeN2nIZKuEstU/RNSfzX5IgzDQK2Uhg1V30prXwLx/121phMkn8XxCL3vLmY7JuKq5HJc1V02e8MLLuXhErI69HBIsTzjR8aUcadiWYwsIXbSc76IFCxqGKw3mmHVBcacM5jcUBz4KO8DEGA4+ExY2h2qjTo8a+DMk72tHdMVESiSBySAyJfRxJQwNY+Rvq174oEAKDh7kN0/YQ6S/vvH9LVdX5ryffYKwlUSEHk4humTlRt6ErKPAl4uypnpY1p4xAzzwaQ2NbyicL8wumiWm1L6NnqVSWbH2vMbqRTewUMeKUAyd3+DsAEg2BFWCAPd13lODe/TZB/1YBfgI0MdP8WPhvmkzs8DbMChcBZzE1MtiZ6O9mMbsyG0FHCeUWfTi43u9NjwxoZ75Us7SUD92m3pZ/wi9KVkLa4VPs5XJld1xIYuTBBNY6Gmktx3gjYD5uyry6xGiyfcpcMR0mH1SlTylqkjbC+PRHcd01l2sE7N4H/rlU9togokyd89gt4TzEFxLeH94A5aNhHCPXyTd5C2jE5C7knQV03wzpAkWIh1IISuM7M2uoHNjNXF1WpNP+izLnrzH7lKFCe5+rK/UljFqFa0sbIO7gKz6kR7cXPdfIaSMaDcycNPftkR4hC5IMbWs4aP5GfnZu1DfzfoZ94CrWM4omxjieLt9EwT0ppyyZBgJie9/K5PDEbA23CPTH/OSpiMhzLLj/YFgCb3Yn77AmIH2edmGOdU6n9xX/nfT1G73oa53aM0uwSiiNmqKfCLgCghcHIMagB6nonAxgaV8/KvZtee3c7saMTPO9JwQTRF+1ck+iYkXHIx95aCMHvRplNip2qEfI0NzlpGSzUJ1eCY6YintbBkFmjh/OWNFx7wRwuytBqcxHikOAWptqCjVD5Jtk2rvrgIVfTY79+ZSl5JjwgGBUor0dmr5KYI5L2QYpN65o05J+KjWmbfvHH6Pj+v5KrQMIuaq08TQpeYVvjq3g/uZARa2Wa5CDWKwKoOXV66ii/nX99prhRzDiH6W9AXGj7SmMIpnEBjxVI//uJ9UilO2P5GqeaO1PyUZim7Jpimk0retbAT6lJoztuDtje42KP4Y6KY93JM5ARsN4Tx9I7EyfqsoU0zE0OWet2szPT9F6lKTWVLheBRuJQV3P7UVdf7CzIB3QNl+K3zShxmUXGUd42OKa69HoMxlOq26CAniDRnAFlFt6Q3eBXgfhnu/UpMLeNpCF7R6DbhrxnCeKyyaM7fZf+2OqsRaTaRqFrdP8tYUeT/PvlXmxvKSjPvQzMBLT/4/66NLB6RaCARW5ndsNjxyBA3sNM3d8/9V4Ia12oLl5LfkF0zm6LbvWCg4nfhpWEsHlFdsbdKoNfiaeaQdNRzBft63srFq/o4Ga0oGrNTJv7ebqcT63QGm2cXKGOQRZTpgYxyYyKjc72Vs9yK+r5KclL9t2jKFy7vcsXPVedh9F9MjDzqraCv7aOwb4FC1dHn16K+aY3naBMeXuYo4iFSz8rWaDWaQ5rcUGwnt24VcULuvCLT7m8AkgVstu2e+xcWyeA4tx4ACjO6YAIgrd8+HmQARrpX1j4OzHqtywA1zpBgwwJKjQtDUWS/4byq2wAE7imCtYekDyHMsZlJal1rqmDN8Be0FkdqTvApJLO+LYcN5kKI3VebmvX2MKZ+XrHG0yhsTwe228vxGNSY8MMU6DXvH6G4meUaiwMWLWUCyRLc6WTmQ9zoVtSP25W4wip8a2PRd0DBtRyCClPu24xx5+fjRR1FWPaI727nPZtuJUOiDu1s26TqlX4RcIoVttmszltpltzR0dtCSMQwxvfB6aSLo6mLSjUM4j3DuE8rpQBTARQgUxAx43uQ01DbhqVvHUgUhPWIltl5wsVh+oMO/TEIA2OfKdEatpN5O8jHT3s0UNiKZIaYi9EvUl5Fs0Cs0Z59svCQU5z6RbJzG0m6YiarsJd6nMYONRwu92EH4aWVron7I0Lx2ol2onSOqLZeOu8ShvpWQKMxeNvNu4OZudLTHn9LCSPtJ9bl8B04xNAXaGGchIY8tiaIIyvsVq5Y3Z4rLcp0OpjjDrJhnQ8YGv44PcDRvojuiKjJdJyCllRFcep53zW1L/fzsnpurfUxN4XDE+qGPZXboQqoSENICu5o7zKDwPE/AqG0+7p6YVLSDFjql+hiduFsTGBdWdCuekxr1wYtlf/MNfv/Dd51N8MRPQhjJiriD39JWAzz3YVMUGVE/hnU44j5Vyza12r2elsU0H9fJzxpQ+8JBj9TgqhjuAgK/fM0pdO1mJrqDVpTsCXUqJ/jeZz/Sm6mKuKNtu+yGyiFlkGkoOBb8bUlyh4EQ1wfWCrJokDB/5LSlNew9je6YNm8QrxV3NVnCsaYcjy49sPyDj+8WNK4BzlEf15pjsx+IV7oU4Gxpi5yBGIY7ZrPHErMcL2oHMUJEDIeJcaqWTeG7vV3md5FdddlGDKVLwvYqzrK7okAbh0A01TnoHlRVwuen2UxRS3P/lXRQT/YvaZRfOwWJ6E0qtO/e65KHIlNzsWVhWrNuo5ZqxeA94LRZ1n8ho9x9fJ/YZihxQSA0E2Y7snoJwXWveEQmCZWdy3nO8lNXFfsrro224H2vPT3GvDNJdhl/pbw3whkuZl62kVkk2yA9iUhQDSYPA+zDtXHU1WF35+tdiSvolIG++gt7sg3s+l2Pa/mCQ4BkAq/THSfoLc8Vpb8XGlSIP5nf68qi72I2GH232xcy3I4/I5jU8+8X/3QT9hveZlnmvt/WMbiUOxYhJysh2ZEv4yKxxK8bYKxKjljA2NYkrhMLAqdi9CQnIcDAHg7TsW8bPXN6cGKBRNfDnWQns3lcEuQbryW2EO7HeIKCeluJB8h1Cq2YZa8YgPc0zTojoWLPPNUiDaf8hRLEOnCIdxHKOKVALmMZeAntQNIefclR5b1oRXbUEoI3UNVYqh5dWH+n/ahJeg4ZFfFe28yCP5CYC/XhS2Ywvjyr0FjEDke0hn29omHVkftYAswDBkI/XWgqPdWAkLJs9yRPNe3h3sQqgbMw8ZtFtlVTXyDTrFgh8dDXVTfgYVFroMjsDa42nz5l7Y6MPZz5V8BRFe25DDBVT4t7AxUVEyuvkkCaQNh2ohft1TgOwYUhci0zLPufXLAEAbQif6pMXJpJo9a/DUZIZ7iLyPm6RzsH+rn4ekYUHAcf1k0HRxDTClCebBGf8Ky8C9bdqQ1IjEMa0a9/VyIIPeEf+aBeJiL/w5SHVc/yn0jGjnCDKBS1hFSUz8IY3TfUwQZqVoRlS8cwl4wt923M/vZ/STPuPB5jqqTrPA22cMAOX5lb9NGRWTTqws0cGa5M5CJdP05h2XXzBUWRVprEpPRh3E9bdXuPXcqoOOdo3S8kq/yvZZjMwpc4dvAGThzxfKSAEQ7PVLGOe5oT2sRQ8H9HbiJ89JJ5LNLWChwF2yoNcnyMBgc1GNuLSTmnBoS9x6OjhoTvhkf0Ltvv7Y4S4yU2GiaXl06EXZ1i2954nyuxuuZF1xhDKtI3sbiKAc22ITKeGQAwV9nGQQo5IRMvV6j5qZwfNkrbHbnzV1grwVRelRhb9EyHC1PYmIDZUuN6SKAftAt6aX6KGtzHPrvT5XuhDgnfiU8/IwWRSLDb9IFFJNeQizwID0kUkV1X9et861S2Xy+w8VbA2a26M+6R5CTkZSR4v5CVg+ls5ny8k3+SibnSAsEJWcDxCYnybXrHS0jmU7e8IpN24s5Ym5xr9ri7JzqVyS4MjZ13fH5b5nDmW2+gPfS28XWrX+LefZLDLAPs10hrzKhGQEecZVKcX3W0fQSD6SdpRWLIdFdIAY/3LwCWsNw9w9n/ArwEAJWwlv7Id5kygZs2qiu6bopFV7rgqPvkpDa9+Kv1JO0N8Yz09qBZLkwPZf6HrVYhUhxP/9jgIMNGMtgOAA+XuBsCujINwtU08Jj8R4lBF6WrmFMXdneVZ77ukadGyezd9bb3UaDZkQU6hio/lH+r5v0+Csl9SpSxb5zVr0/gyeXWDmET6ka/zHLGHyWmuQEZTwhQn31Bz7N9yb7ue0EPNqe9WDF8Y4JJyeM+P6SQbXqRbIMXx1BhsHR/KetvE7HZYhPDRkD9G3hzjiQYIrrhEC3POdaHJhgFLWK7DbopC1tkOt51C1k1yeb4TJyzvJykjtM8j6DyB0/qOFd8R76m4yNORJMcKxrKTKWYaWkzQBbDucDeJ0KlC88hsb0WA4hynggnyL03Ob4cY8mHwdB/tOxMDvSoF79ydriVBCcm46f/1EbezJTt39f+4D9LxccXghLjJVmNrD8/Tfdd2dyS+dcsBs1IkQ9yhDvVlan/Sl6ZeI8qu/YFdHaqdDeN6cSIZNVMD/WWI4JGDCPaizPmTjZ3ma+qDvp33KAqUFnbRNA5G9j0QCnE89zb+tX88qnysP0l9QTPJbsCZNc2RzBtVzXX0nYeEsJHh32+G8QSyk92RYOA3L1H18F0bobtZa+5cwJYSJaxn14MPQuXMsVEPh4Os+IMSP3V+ywxMrduLKcCSNLNfJzdLwv0lq/rXErCWQY4/+g8I0zVRddskMvMYcLfiqXy9OlWcnuXTzqBhIW/wTKQ4v3U23RKX7OqDzIZIkP/paXmQHKYKQnj/XK/+6RzeyQtkmLsUj0Q4lBqRegjJaYWAaM+6l/ewcjYXSDlgMqlyDO5Prm3+wTYEnyG3vbhkrhMOO/7dBRbCOsgr+7eU4yR74EhmMS2UEukjgjfW3lJROjVNiUL6iy/IzITBejJheE76yPtIZmXbgyCg09OfOblgnG4oaVl8BPtAy2eTxwU9TufaexHMWVItAU9ejoTUChLgdY4ct0uwCe25KCan5o5+optYxmqOrE3Yo805ss7jUjBkn2GKoEFFd2YlhKMwJttKfiuKKllfUmYravCc2Mk7RNRtUKhpqnzQ01NjoOswL6VLU53owLqMfleoSDx5pzLiFaCxB6ssWjE8s3s5qs+8i3c48PLW/u4ihdGdWv4oHVV7fmOuhKwsrt8Xj2szNkYfyn8+0xrYtCx2d8+69Ci/TiQIJPSeopInNOt7jNsf5cfc1Jcz9AYmSc34mR8vNCIf570xNYpDwH+wX5BWtSD0XFm2QM3wwEnZ+z9cb91c5eZk6hrxMLalFUjPT+DG+3VAQjxISFk6ljCynvciKlQ3Ww26xnKvXMf8uuRHaMV8W8950IIcWC1RnZBzE28m0qHhEGibfpfJmmZYgJQer76EbQQbNOg20ptFCdMy+Oqa/JNvQRA14gsLxGxdkjh2pJb2ayQqJ6PzhuRCy/xWlqNXdoB6vecev+FxnXtORWmebf6a0VW9NaFQawe1iedGnSZBRvoO+MOWcikPij2VBMv7jPIz6svS0TzarfWgkUMlkjoqYhhK9UVNBOhK0yAHJQX0rwws1J4kzYhNS3ljT4Si5iR+AVeJdp+/HJoymYu0eckMLpE3WADvsPLY8Yu71USVeKq/YR73Y6F8zw91J9goRrT5rMqlSkJZGRoPDhYFWPOrnKIb/VjtigAfWr81sTpKnnq3C+x5QajSxAx97UiOka9BCcDuF/TcxuUe/coNjlDTI8EH8UX4I359U7tFpu6DgmalCBOfosTOSrbTRG1LMDpcuqnE7RA3ItL92KM612BfDkhyjRj7D08kVyZyNWv9gMBcQbqhzU+YxvgmBiUTSVKUFZnAHZ+b7EqAbu/2oPAqso6OMBrfuAYHB03I32tlxQjuh5+1BOKzD9K61AqS8vjetaFRlSCxjxoSifgYCsENrlz2ziVFdqS1XEpCzT6FTm52vak0XAe4t4mMZ5kIJLqSNnjDh4ITtUunfRhquSKId/FvJIKBM6zfZM7bxI50QeRq3SHjz0bgpD3MeLeeGEJdAaWgGeeTWOz4vh6VYp/L6IqWKTp/AoejvjxsziKfmlbj+IgnvGcNQ6BlthV0Jw6Tj8qJxF1GqZINMiDiXAt7dV65z471ZSNeWcrHEGZcRF3AkWrxTUhqZUBGF9dNaS4EZU754sdw4obxTAkj/uHT0YJwk5NedbYO1BpBuQp5eRvxuD2B8KUV7dam3jQ6vIY8OuleyXMYbZecH0nrcIjX6oXflm0Fyn0P2FNCzFxBB/XTsbFS+2AHdOL4j68o2XpxJdd75F5Hapw8AX7jZ+CXAL6NcrmSOfEH6D1mJFQn6sGFQDqSz0gpd7woVQwV/qkGkIb6aAOxKpy+2sjMNLowsNhlLHvCmkS8nZoKT/33B43Uy0T4DJJDlHIMUHzrI56aFW1YOHxaLol3SQPh0YYV5GmkDyf9p+X9p63Q2PyNN0YLxGWVlmgEstzPddjnd29ZG09zb3qjOpnVBjCNv0Pz2ntZyUzTVr/ZLQQIo6eIJikojeE1w9k+qC/V8yVoilBWKdGFY2VA0sI6P9nTayZbMu5hyZSLKV1X/SvNHam6smx5AXHdhtoL1ghZ1JC4Eu7WvRCHD7SR87K1zl8VwEPjbcBM0ySKxM4/qblnWyuKJf1T0rElGO2E96AM0ttEaHELJmeY9XqBP/yZKrZclMR2YU63DCUFizt8xkgqlYTlWYoy9vBGAz8tjbhg1KM54+VAhol9pfKb0G2jR15XHEGlfhvlUrTRKtzP6WHYy5jEf9Ii3MMTwODH3+5hRLUO8Zg07gvzptpC0PRtNej1IczticR0JuFhr3she7iLNO9GVSF4YXGdK0V4bHI2VHAurNCjSGcBr1jNIZwlwMubTqxOAaR3K3/WrIHx6QmoE4jfyKT8gPDa8DN3xHmlGa9c9HCMDTnfe14CuoSy0v9PpYhWg1KtHsKKX8hwtAWcBp/CEAaW/C/krL63o/8f0SJA905OrCDlocGvoikKbgstvnWp05eVVgwx79R8dMQ5XbaJUr1RHtuPT2L5vYTjsWmAPUW2Eb7g1sVkLZFvfBWEiqx/8PJN4rW/R07Q0BZHNI+SnxPF0plOYbwBxUKqopaviIZJbTFJ08pglwJOL7riSKjlnW1rRKiEbk5N90EGUSrOCu6VjWl/6Op6wsV4PR/jj/2+3WLejFdOsc8RsI2tiig4WWhoW61u0vFlMGFMkeRfzna4hzB7+jxXskVRsm4UCMl7kL5rdV0y0n07mKjWFJoN1kRaYza9pUMpHuwM2qF+F9byzodVjJZwH9W1G2fECmXtuynyTsXne2mrg60/8R+WO9BnhIFFgT8ziBfzu1OKVH4ah0/76FdZvD/azosDrNPlIa3lda7OTUwJvsh69U9kpkBKEiSnTqWU843SKESEW8AMPhynLVsEgcB0VPwBj4TGd2FL2FaflRuZR3HYDFsAhhxuhjq9PncQFx4EbmNmW8+XWXoBLo4GTkys/V/ZONGBWSP8d5Mc3KLH2KGOXQPml/dyZtoejZ7Et0Kwcr/ytJpZ2xX+3Gx6QP6eEHsb69ly5ifGPQyLarLkNhq6327Oo599XvjcjDhDnT99NO+/70dMpdaxUCGRs7nhmE07wHU84ARu8EtqdmJ94bBOwslbBf7Ze3x3Rd+S0pyKoHqIL5mU7KurT9MkLvSsGP5JPlz6v1czPJfQg+vyXKwij/Yq5mqRGQFi0mFtezb3ZOFIFqZM6JgbPl7BfEvzk0K4sUF3qf35A5Oq7hIHDqpm2Vy0c97NaijknVmmPlvLpY1hD0UBpWwocWRHOE6ZGuMYSpIJ6Kgfl5NKoFVV5XCLsspoQ4+8/vz/W62poBpGzf1Mi7V0wO41aoUj53+hq+vvedk3/W2dpKezI7TvXaJMlVRo589SkOHovPWIFkEQLLEEuD+RTex4wTxfjUgdtMj6soP1aDz+wLCJLEEb8wEVfZeYOS1q5ktoPg/0ZGtx/6vGT+pdfg8R5qRY1MYrGqELtiljFbIENUTGY+Po+NbiEoyPQufuGTMbLRTUgOcpep8vOMYHP0nCVVIvJk3idfN+pn1ZsXzsRNtvI2vPJDAw1dADCd9FnMbn8agT4sFn0vmGggreZfOvwO/zYG3zkctk2BJzPRahRsO3HrKjQ8opJBhrdlgmc8/kB6QniTMfHqOCn9b0Q3qbx30eUp1NcMv41tY4Xp1RZIWetkL7bxiJtfH9Duo4O2Vj2G6x/1tl+/2PTCxleJz3ybsnPs78jq6WH7bcybzFHsGrUY4/hirihB8VU2w8w//g8X5i9rCHw/YZbWab6jGV/M5LDkjUrJAxF2l8HBO9R9HaNsHfn85FkH6hLWe11jERCjSz7sIoLodgBETkXBwuMuvaPhzhFrnfn3lpiTF+0Xjcqo1MrIWho8cIQECOD4dM/GS9GlflG2HylhluRDy0Dz295ml2pVc73Ht5hC8p4W4ANZMzphr0LK+7qorD/ab9XHo76S1Fo11CCpOT40znIvzwoE6ZGmvPFdi7NpZISc3F0rlccNipSk2fgYBlKjm+lzU4D6GggbXAB6+ijxWw1HI2wFKAOKggVAIcFqTA9Fw/9dpr+XxwQqWV2gRcQcsIXXY+K5bKZJOyE/wdtwu02ZD1rpCHFFnWpBnHGfzkjVlHhWkD4i1Mz6zqPmMkq/clcLVN96KwaND64dLmGv7g4BkgfS/qtM9NkghIFEWgik97LKWPx7TOLdeBGLOdPV6wi0zAFu5klT/0UptT6opYvQOtY+fuPAX25tYjOVNDezhDBo6KBmXqvu9uXK1Yq9f28eD5zn5/FQdypPGyQF/kwkd8Qi5B7vrI4koSrvnDO1uFMWAvGBfCIsxmVpNO/N/gTqwgZaEANCM8aZ5uWvCzwMtGPipoVt90ppv8YUSQl/0aXaYbyGj6HQgYIl6xAAq5i467CfCXIJNbNSnCnnCHow3/IdVlHeEUtS8E0j9uTJzTQjepSNM6ZFxSbQEg/IwxtBT/to5NLhftGw2nNRCvEcC3ClHfvVEN5tfUhAF1s9DM/8p8K/uujryGnhz5E1XDHVATk0ZGVX86KrCDkH5reXk53mQ6LV0xnisv22hMbT34Rjtn/KbsV0m57FDNihd+Ln5FREGvtkf7bdHPPDR96RgOAS736cfP7BF7BpxGMVYIFNEArpaMeSbU2Q3wcFrnU6BCflw5++yKjd7i/Cd4KQKJFNl529UUCSOQr/ptL+Keg90qI6vRNqMW+GAb93X0N0TM+pNB/M0zItiGsW6EzQ/LAGsdRUCsZ0UePVANmJJ4gKhkKLKCduR4Sr00UC+FtM8zX7tmu1GD62VJb9EBwF9lpgcJEjp6V5QiCWBFmfXu8bM3/KLIvbFlydKDz2fyeji2lNTM4qFg2kYu/47L6iHFrQaRpQVLLlajIbhGc+AtDRIN/MPtNj2oax+7l05PPsNRifx2CJx5EscUIBhuBu98DubZ7wPismHyxja6vu1nwmjaSwLzgAVvIRY/BtBDffeTLSOu2MRcNzzbcemzvXwD08Uomsp3YeG7zBpZIv8v+DDokgNfGmGSbkC7p6uhlIoDVF0catehMCcgWKMrE/5oOWgP7lwJ8U5dNfFcGpuQSgE5hv2zVeNvkbwoAnfPIb3YmNLedvVgkJGQm/0lUb9SJCdPd+W/WhBCdqWx9UBUnZM5PLDoxzRtErU3c2Nhwn67Yjb5mqvfVln/yHaAVmGes01pGTHa8FjLf565zz5XdbCqzfh6Esr/OQP/vX2g+XwFU8+uPHXUuLyRoqYKa0Ddk7i3LeYXiBFvQGtlWqKyGGS2kKiSiTaiXmZrRz+tdNb5YlfT+/y3mR4A6XdGAASdwHdkb5gbDhc0lQJOrOwPmH0gXrzLb4ThkoVnrthzHcE0hGliwJ/j5RmJn8NdI30zg6mjVhPiByq3GXlKIBWKAn10gpjgd6VML9Xvi8/OGdz47Nmd2iE/l1t+UZ50vpo12US6TCGfLtKWZ8DuabNfesxj+s3gevKsP/q+r6LEhg/TZ4/6l+aogxdIhHbArDvRnHxVzj3cNYi0rKUR/I/8M92VxB4rgZG9uYQ/RUX2hHCnjiFk86rzb4/O1jIPjro6/wN2AcKsXsIl0WqM/j0kpXoW4RXRxqjrLFtFiIVFk8VlviqS+5RwSTDkpGRaDNB1xLkTJSDbKrdO8ed6GwT4or8fVC/op/AK4y4Pi6J3TdzbEkQRDsAEDj8l5toHOZ2Jlmtd3H2GHHJnVpuwDuCErPcVrziC2aSV376InB0p9oaVTgRPmCuI2K0BM9UsxJ1TQjMwgnu8CmG50GTW46XPmm8gefRr7pdP98x7LUbeJX51pH0VtrDgjd8JHzj1tNDs3bloGEKSH0oGpyNywLM9iLcsKGCCurMq53PlJsgFHkaGxC6cGvLH1dFVZOFLnW5f5JKnjhkMSClaMfDV0b10dj7LQOBTm0cy4DNATqhBYkX+rc27dkIoGUXZSgi/TobN5iHelCxSYmhXc+DMVCIkDDKXMYu4w9fYVm1vvOW4aYzuCf0DsyX3DffbSJocBQLiY445Wvgf8AG/rRV/ajDPjbvF2AXgz7PUL6dXF3WYuYkk9oygLykVZI/owcqkryI4w7p9u05Bet7ikOoDLA9ZUi4zoglw7lsSgDtSTVCB36wTwtAP0ED16Vh0802KNd35ztbwGRBxxfUOrzDspChRz4A3yaWsTp/HedvwUEk7accOhhgpyNY/BrFThYKc5+zpLHsyddrFT1vetKVk44OfceHmc7hKuxhkRwlbYEwO0gJuvMJTnJ+hvrXWUtZpb2/pvwTrVmGZNAbj4rNns6e5qXKoqO92TcSCKdpT+zknhJlL+uL26wcCAKT7g+U42N4pp7//yJeQbI3o+iJYfkzzDqMlhMaaTdFZlbpBrWQlRJAw0zlnjCa1WLvLEbrU5RIgenfNr1lWAG1WOXU9/2zZ9fqh+9eyoxJ/mWj5F3XbPcmM49kpBvvKcdfqArtRMGJTTepbdxEv+AdCHKSaruDGjw16zuwtcddfdEXvI25zFpVWOzFv3xd3QfOFvlmgUkNzkeEf9rMTrtrj86MJ3pRt4Am+tTiWu6a9YwhOJgCpQkkBtcNKNAg/eh3QMv8LwFaxC4NZ3Noye1+paHW2uvnGJMDV25W6dAWz+8X++QTceodE9kaaaJeQ9V8mp15OjfjQg0x5NS4eSvnozGvjJll6rDEbprHRcDwKZ/ED2wJupX0YWffuC4D459rMxYBup6Ky0ubQQT9mfZqXgyjrJJZY3HLw6XtAc8qSjMNryTeqKqg+CusPV1VNFqIaZT7qi7b98L0ez/IDJPJYFkXJWE7J18Tcmj0hke7rarjMPicNGRRxDwvnPC5ckNsELQaJMCLKvxTYmXkNE6OoLK8eavzCw0boqQq1+hBvRnvtKFljnenm/Os/1nbVMN93OOQS5wVVbC5STr1blIfO0BxJa/wVGDgmVrqUL4VijZQb/OqjHVuTj2afirLTC8PrmagUsMVJEBIK9bzzuF9SbJMNGyCdX265kTteeg3hDDDoxcUvo+SYt0qDsqeD+pP2etbdu6XJGlCkPfmd9Wt9nYBZmcmeO0PFakWDhXcN9dBBpdYzbSyCv6AScWTKjURI2ZlQn8qhQXtw+6VDbISFQW77r2qEJmqlk7xF5FiTE1Vd+oOKhVoJQBtX7pbbbTs7ZpYHVZLwmlp5TjYGoJ8JKdX2QBlIZxEmCRL6zGwlOQ4JUQOEm3FD+MWkshr1yYJYy6OxzJ4U8DMSK8/7qciuDfnzck0h9dZWk3/Vbqzxww1P+a4FHiw5lLDxicxSzQt6nC06gpzwP2qFW5j9QqTe0LIzY5PdLIYTAYxtRP4e5OWPBJI9Jliz7lYN/A59HumDoyc99vNDoAPonfayJ+IgHAaPeKP3MnMSRXy4WpWR59WPivY0xd7Y8r5CFhGBb5GCMsr0a2B2JA1Qq9UfKFjNIwNLbqvXcBcncOSaLIuxz/6aInXzZI+4B4fjVL+KDIMFlpqkP5wHiy39CgIKSFteYkZyO9nmbD+svb16OsvVq4BecZzT2NEqp8W8IxKc7jcp4gTkbQEj7tQljSK0KLloCSEwk2Ds5/KKDlFNccqpda360YbT5QUeUzDbvowV+4rvYB1ax8pjOIPxzfl0Di8MG0oB9snyxoSAQgGGPgwwMjNYFT6/Nv5l+or5mrRL8t0XrJ7JOFSStUXrZoXwRiKPO3x2e817xL7rY7aGFq/WCTmH9bS8R8WjQ8bH+I143ACrrcRlw3YAImvXPI3nIU96o21G8Q4pWmMqea155jGe+G7p4zUgH06BqGVl1FF7ZjihTeQEatUj1o9VOARROZB3eGqlHlfvUUBgBOciLDHOevb6MUCIIoPzSKAQhsGJBL2JaCYfEi6nMjtymQwx1VnCJM+ZRxJwbXw9eCz5ROg7a+SUUfUiRebL8C1LEsdCcl5EjJ5Ga2gjUQoHc2IDi74I4Cec+JkvKpY/334tQUzEDeMohyz0Dtg3yZSSGTZ272APosVJaH1ea9zy9+Hd/L/R3EW70HOmcVZCPYnnKJmwsVDePu1yqIIwLxpT/6oVtfNEC2nNMk6XuaHFdsj7N1oDrgJpspFgjLPZ0M04ld2TX5GbI8OzzFT5/O3R3iZRNrz50u2aTxESTo5a74+W7kIrXx4iTaD3o4rP8O8hL87ReNkXW9flNTYuxIT/rexa99d8UBcM4YdIjGCDXU3FBmGR2qR0BQ2CsxNhDrrL7CnbYpPdGy9VmEAyUW80IFY3HVoNFz0Lhss0fmiHOk17d0LBAl62B1zIjqqLdokM4s8iDZHlE2I8CH+G7Mh+IJGKrnSCepuCtmWoVM2MXFpDa4X33fa8A7gxeLsjrNAiCaS9lIbjWGCm/QWB5EEaO2JRcRJLLaoYkE6RWeYpzM/gyCCzhEhozuTdMik5hobasNs9lHgQeYPKfB2jtUquCa7VAM8fpzgGVVfBAGIqfmC7X/w6nT2ycZQCjOapd3+FIHe9W9SONjeNcmObZCTEiGvtp1ir5U7BektSvg2UuQVKcOex28LTFkxiRvdGhCvaU7n8T/YiVznxTQKAF9KoQXv2n2fKqWUdaN0G/oVjuc05feOvtML0ieo/LH0N143Z747ce4t82D81J+B5iIAVATd2xW9jIpqYCOGSuZ1hDubeamHI/+OsbmDXKLjPBiUF70fheeacHias5NgRVRiI9Ojz/au6wnVF8wT5JkSsZaMuciNxMrPGstDDkYzX4VeUq8GmnaIZOmoqOBbbYRNJ98RAaSn3LOzEyt9G0ihQyq+gzzddXxtFGIzwuY9ud57NknQxB1sf25l88DOKWCNPs2IMcfF42nZAUQj5MqaWkBQYlNcVaXatd5FnjRcYzM84l8cA6EjOj9sWOTr+rXXHLtM3lZjssaobgtZGpckAVoEuxV7FKEOLwstrCDsrigiItzuSC73xrMjjvv/HxNKyXn7pSDbpeoLnfATYJ5vrxtwo8xqVKrtRQSiXyr2+New8Bbj1ZVmb9QRMzJMhUJQObY2c9R+Uf0+Jwy8Eh6c2SR76Z9EN/KEWwnK86zyhdSjhMMc9/KG/PQEHL0EEMwnpsq9jQp1TCSFJI/740C8sc4TIWq1nD8N3tDKubOSVSRzwJcGEB2GG7M1jnxO2xnF9uwR+4pdoo5sz9ynf6PBTWsll/r1E6kVV2jFkhlm9ORGroc2pS7Bh4qefgPpyY7jqc7YrzYX612haMZRCf2tHRCkUkg8wRlrRL5pHLko2UPDpQNB/sV5thjj8bm9O47xoyUnoI+C7UgG1kcQCJwK5zu8ofkPKa5USxoHQzXMPz5u2Mzt/8imUD91K2fyaUCwgmMUaoqVHPjTQ61zjKuHAx7dI5plIbwampR4/QtGT+An12SJh16/2VNOomDhACTp7YhceakSiKJffuslP9CMe88leUKP1S7DVYT+VS7RLfDiJkgDwdOD8cahy7c5iTnQ5UfuyEcALNKUqoUzbiRyXr1aFxHI9Wh5zMldOwKo7cvM2+Tq+OcLk32Mqlh5rXT/HmE3Wr6MoPQRzaZYc6U9wky1/g2zVjn4iw6A7F43CZtslZck0dZION0aiVJT0slI1hVXvDF/eXyTIh/CtJHRMWm4Iu7RC/3DJrHSX0wb4Se/hEw4zybMyXIn3wF1x9Z26T7vvmOJUAlfSxzh7phiTLWyd5y7whulRztn6f59doi5ShyrtVlig88b9f+FcIfJIk5MDuQlq0v6Luye8tu9CrOVB9BeHgW+WP60gkj5MceU58i3bMhnQ60VKHQ7F0mf2QCij/Yz/VwHkMJz/zRZCQ0RhqM7P10mY1ahk2/Ow2ndrEbIDhin8hM+8EwX+pqWeZ+KJKjqgK22mbkSjU3w62UW9KZ8sUdKLyqGw84+VgxSY9E+/aVC4+QiuX9KFI6vGPStwYpVm3R26c8X8JJZyqE4lvsXQW2HMQHL9ND2sP9743J+luyU7SFsJZIawQ/xo9KSjeA5PcTVlUOOt8WfMMCKlu3R7zLdweBhMb9ZGMbFFpshsp8GJXNCBZ25InhSCAl5auLl6VGjvNO5bPU6GPtmp9qLUnKeU/QZrlU73VKN5iouoFDiO5q5GIHtWbXujCOL1q4+FYnUE3E+ORoRNXEW1bSdNQEqDT8Xtx2ly/oOSLAnrGVVSJlW+u4btKJLTWYYq339n6D1ZAmgvU1ss3+Hn5QjV7+TNcs+2sN9EQ1GnI69ojDxm6Ua0/zYG10FsD8k4LegGABtPtBGtLw1SyKQEBiXVDqw8HKDXZ3Gx+uZnXbXkfNF7VJ5GfW2dxLgnT1b67GM3ElTklDMRgdhwq0P4jJMD7cB3wPlqV4k7l1QmEvWekmKgGUsUEeu7Fu1ifb+5GSOQ0UV3iGxxCfzOpMZXT/c77I3PhTzDTVFqXrlCoJ1ZohECU0WhR2WZGQXwYCe8OfygV3Est9kcCOUSc/IHMcGaEn3b0d7uVzoPMNtF3/Eg/yOW1c3EQ5B9fYudrsMEnkvIF57T4iw2dNv5bu6WvXxmMe+uRUmH/GpNCYQ0XXkiBsokWH33RK6tEqWJbwroT1DG63yA1t0XWVSH2cstFgkXsLf1J5IC1hVuI1UNwBdd5/CFDfnHH4JlXKjpWrca4xsly0g2Czoo3/23SQT3reZWIUXjHQcyfBaYeTFQvXN0zx+8rdYk/AYfAYDmzunQq8DhvAQ3hgp/u2EpzFiF/wY5LZLU6+TOGFui8v8/rS3L5X2tVnSfcNi4KsVwXbi6BZX+kf1Z5Ajv1xm3aCtevlFYW8Ipec6fURTXdbKSuw3BwQS8/g4NfRk4lmrRIp96zCTd5FZRVJCWPaCn+K8CcjZUoVC05J+hkt830OVKvGC6jK7yIQ3frvbSyWcuI6qWk4KkQV+IfCac47W05ClRcCT0YiPpib2dU0K46LrfnrBZdurfRUR7z3UcIRFlGQUbJtqjPYKvrHtPH37OTO+z37ff5RTRUrgXfoP6OYJrvePOcPcHYAmEyGsYQCyWEbFKqYJaTlK1XiKSHcEQp8Z05MYMvqJPyF5T+WtyvnW3hKP3q4TRQC0yvOmlsjiwwDb31bOFjDpHpAc6gInrOHbSGA4eJM404/WYYCXaUBMgHuhCbMe+NGR+KalF8EKTIn3LVoXNmEVCDN2GNvC7N2Umc37KrPf38dMYHsZw8OIWZb7yBXagzZwv46dvWZAOlfW6l4R47FaATjcZoXyHrj9VHhVn3YsfiNT5HRdUZzHSmv4QYtPW7SBkjQf4TvH+A9dmJmFeyz+ujv0Iwis8iQu6RAQcXm6NZqw3hWGL553U/Ng3shrTazhKjyJtn6AtLPbIxfWRObEDfThCrOHmnnDYptYW6E5ucXU/njXRIQ1dSMrQU6PI8axxEy5j761a5VVKqWWXOT8Bhjr66DZjA7dHenimfN/cWoa9Aq20D5j2acI86IXeqFoH74RI5X6gpuLzihHuDhoG5JJ1sh+HtbYKCIm1Z8obJT8M4mRD5vWAgrGmJQX3mYZu1of7NWOftgCDwyRfh5btpuFhdQgYOs/q8HxnGHd4SfRNfa/2t7i65DQrzuK1a8g6DOomMxlSPz91HVW93H1R2bdE7IFNLehjlbNnwJb/tKyun/XEajAmpLBdMPiaxun4mvXxaTIlb8nhNAY9mdxT1ZxhO2bHb8CJGoBxxIUUluI4qjOmnc6wnmcL7hMt2T3m7+k7kFCSONo4tXcmqX9bKKFc9dPw84i9N8isuEuNIbZ26BKLu7DFFjVy3iHVWwQa+jlVY24fUubH/ogRTpuyLvCYaKC6MvU6h+QNsvgnGcbrcbCx3jZe7Mal4a7oF9f2AwZo3yoZ5KJQ9T+OmKmMzqsjU/Xhjd8nsdMN7eXxi6Tla3Y4qjVZYU0yvLV67ciTkr5dI68aTAo/Brp6kQPqbAbHExRh+u91QRxmldN6uvygMULDX5MPd3okP2j+x4MwAMwUqCSgSAffbY1TKVK3TfbHq2kzOSTnXvbDNfk3x2t7T+HVznL29Ip+vDs5QkoZOrVle4PfEvZuci56DW+AzXJPByHMOnPimk9lgHoYzoPwOpybDK8BpbSRGHSyoGM5/+odE9qLQUitNg87gavJjSLRyE9e0hOFyOz7JoMhqJhVFefkCOy3+ps6Qxip7Fs6kLEiljxiRKiB+drWypatG8FKmgHskusVGvWj8ygW5DFw3Z5BKP6Foq954Pcy2Az6ghtkoWkZOlMviwUCr72YIxJ88mSCANT1sz1E+fnVCpyXOCe6qj+mpjK7t9mE4fs3SCiHTza7/1H2WFPIuDMztZ3WXYYLooQjq9OVmAExRWB091XR6gIrpUjiEI1Q4oeHMOGv0uUpW9Tenrh+D3R0UsGVk8zeH9Q8zjoVuf1K71z4tKxtPe6sBaLhroMeLYTJGCZkadZvptDzj+A6Mw7nVf+aVXEGyi6NOYYv2enrEOseJbXAsflp2LRv7kbmHlNDZuoB7iIXLE/qYqkwXmc1Xe2QWVwKRXBGKahTDntuntEU3a0B6vPBj7XFS2UD0LAj8Cg9gGqYA6MkZNa6rl1ZLZJSixpTH8lQMtP01miaLtS5ozO9SNMYuDpRsLi8qZIeVyD9voDKUxud0ASm2O2VuGPzH3WkMQ387YxC6m902Hv26L8TRuLtTVJEQcbOOe7VYrNQ+GNW7XpCwbmOgIOBnC5URAVi534dxtO6CxbAdvy07ZTnAN6PsK9fvjsxv3YqJHdzU8lED6l7I0yWZi6vUnPKnQLr/fqeGbMGCRdS759NuMwEeiFDBVH+puAviVY1KwogUHrq7e279jVYJdTp/eKHhK3rzQU2YMRo7VdQThds4SNThmruqFT8wDpFl+43AfVTSRsHVb/2vcWFsllr8Zy+ikRnB1IoNy3weYn+wzq4CKXGaqCAU3iJGmD/GZubZxDIle00vMqosx1yzYJT1wBB5H0H0PEe6RhcHBD+3DJN/CF0n8XqC9oJnwwFkI28mxg6KMsFZJ5iVfkcepFkKf1O/8TD5udhBaZ6DKzaZOFgntsjhRuC1eRea26pIk162o8ilw58jA8r2XHIkXWM38pLIhyKk2oFJ9kqflZeLS5j0mYcs28sXLqudYIhB16cnht19xtdZoU7Ntq0sbnRXh5mwNLjdJUeD2a2y/Ce36JyGJ+Xc1/DTxsbq/yECVCq8KfYNARR3Jr+SYxAiqrHF1zAXyke90xR+KO36bE3OYH7KSKoRMDxodF6oO1CJKPxtOV5pO699MGHubieSmLRtSC5iL7lG5YYw8WCrej9+xltfTYUs+xQ0t+2GyuPMPwMTWopWEXVFtLb8QBxYVpJKiab1s5SO4HG/qAACfhQLFTgjuTaxQL+lEdYy396T1PHtH2MLFCkpO2A3PxoKNvTz2eFW9jtDhbs4yZBmfBpuD/S5NhIdMm1J+qexcanBJc1xbvgWeiwZcDhhcLjKdJ8aLxgIxo+KgM1VuKqV8SnFib/zzuF4JuDccTWMlYd874u52rLC2vRFBIdTblLpFqtxxhBuM4JAWdXSa9N4RmQbucQuLQK+Rz+rqmfKI9ShR2UV7riqcb9H8wSQdR/Nns+KGWBBg3eX5KPIMY9lX9iyQOHgM0DLI++iVsA7tI0X0mapViPzK/cLBzy8BWlxCl8tUr34jhjmAT/tw8oxt5qY0XcO2QhFiktsZSDqxL0LAaja/HzIuLYLoZiiv2nDXRmWLrgnDT1jbl5qqs7BtGcNYVpqJb/lsmkSEJGr9NX/07pDxNa+3W4uDHXMILddLuGo/h5+rlJyNs/FCk0zw71uZP/t3ZFau3ZAqsU9Ym/FxFiEvvpC09fhJKsTEKjUoLvFySKfxaSip+H/TWQq5CdAIvgv+ndfTA61AHpUL1FBAG1O1R+Z8kgcmcOWvM8VVFn3ARA16SG39HW5w+jqhZEEiQigzd/ysTpYzPbkTuKt04waW0bIf/cUSSdFb4vO9mLb/cnaV0W9fcdprGmToitez2qfczxaFHwhJDwMh8TBDQtRoKpNbPAvOTPbXCkSQyfm/EeniG3sNXG+916Aunr34e21JzbekBQowNS3OyOJNiHfNKbtgzDHhoDd963yzQsa72SPSQbY//qG7+Qq4eulnBkA8Go1r+T0w88veetTyGRXOfLF8cxGVQmgfn3SoXN7BKKGH+70AEwFpNUFRJrrQlkc1bzgarMawsg89JfUpJxEHPTqfg/ZjUki+gjDqAjpC+XH9SvWvQ16q/fISzZ/SKbPwsn4vWG1g7GHWiOCjhAjzmcFL5Fmyy4tOCyoUlQEiXMcA/5O32EEaSuvNFI9wX+/fI4u7YhRn635z3iLH5zQwY3yWQJ/8xcEM/MIO10DK7hTkdE8f92OpSCvKBBTqNZMmU9zj8YutWVb8ehbRwA9lwfPWvNXhg0X5+7u3+jSw/FPebftABxMVzdcjbxMtpRXXHsaRBWvDhaJuXbEh2znNyDpcJBe64wJNjveWTEzZwy8vRPmyeBY+/rUzIN3RY5y7t2l6absspKwq7T6iZ79Z6KdgpLbY9xvzY6KFpjELZsQ9HW/e8JFPCfYhj65fQYGqop6vNcCbHHw8AQONxO514NHkw/vDa5OwttsdBks4KagFNPWOqHEr8ItFVxfnpv2ccM/9bDskMQ3xK+W/c3TBQwoJKc24FN9guG6sKwXgbaCkKhlDe64fquxXj1yn/w7aaL6a6S7GZo60h9a1BcSIkNWCGXgT+/r7UD9AXqhdDNjQT5f/tMGGtbGTCiHAa6MmdlQN3ewQ5AHnTjrFqGzSjPQYuUxiwQbzkX3srfSNMPJ+2WdYQ7SmvppH7byOJge6VOXjgvsdq8oZ92eHSiK8cK/Grszta3hbhTpuc+U1mKGlxC7/MVJzWcoplBUBa3xWT5KY1OH7ky8e0htrsYf+xI4CP9+HmrHhqWL20i781SMJ0ZykhjxX62NEzpRvNJCMaVt+YXALN7s08eVNfSN/8yjmb9auY6esNuFSiWNRRRuhZV+5R5OMOItFdh55bf9OjF82Nk9MlpMhwJL4UqnfLqtG5J99OxLJ+Eigv9BwARm5BqhKCs4J4T8nsdvxQ2moP2yt3ZU9zvNI2qx/E+sJJRK+Xeoucv2oU6kVfQ4sY8/OnQ9cI+xx2QtREJ1eH187kJO/2/YkNDg3gup9GZnisTwMhfKOxxQFWBixF7hVDqMkZ4yTYfS41tgZJgRCvSoVRJRh3vOapr23DVzikjbP9n8TZAUx63JnEpZqw/S8h1B6LrbugqYEyduBqOEVbgri9LP3T/M8rtRGcl1FOeSbI2bceAKb16ueEIJM0i8XPW0EWqUACZ0Wk8gEDGmDW3/z2sly4DB7+kau+t+o5pLABFnB3NN7TX9200842smlO2LoPly9s0aCf1H1JFp9z/Bans7rgl32rOxgSZpLaeFtaJMiy8ja44TUsLk1JaeQWFQwtV9mbWQ0J+7COSyT7G3wQh6S4fCou2lEo4YkI4pqHELr15ha/87DzMpJjws+BELe5jiFI2ULB5DeyaU5mZQiCOOGV0w9jDMoGHRtA8d3hPcw+NlaxLi+0pnlHDArGYsCfiyKHWeqjv81Dw9kCm6kuu9FZDpoCoXttAqJF1Osq9ynmQKeODks2hdGuGzG3LnZuc9p8Qj1gea4m/iEqzbpD44A9CroFUCIX98dkNgXyWOLZgcVNAqn4U5QhW0uRNCqQEMshoM4qMJDnIJvg8iHQ6FaXXJAZEG+g9tDkH1r+z+yQBE4WfEtjwvbuyPvfyzgA3zyLFTVVZ8T9jHJ9ho+DU4KI+xVbPwqo6DSJX1Uj8Uibdr/4M7P9GX6Z59TJCYdNKP2n8rIKCyK9M9YmYcG1BNW/wq2r1z7VMg8mCB9Uk1qKQ3VZ7/tct++ocVlv+aEtpmQd92MsMHjHaeyu3HnlfXCKrMSz5OLdtfLB1iv/1x5cMoBt/EeFUTfsPICQR6L7UvE907Aqj1rmV9lRrH9eXczI8GgN0yGnqg+kQRPtRfdqweTgo99eG8JmKeYBxqLK7ftTG3l6FgY7tji3y32MJkP7DxI0pL1U/1B2P2T+rW3t13EPkpb5R37hKZ80/PjqMHzYgenL6gPIUAQ6zobh9uMSISR5dyR9h/PxbuUS0IfkXDZtWewRYdvAJ7pVwAa5kAdDBvs3E8mVN6LBeCozBFdGO6cOiayALEGFR+mY6z4q4m/Dwz0iShr4LVaVqxfoJklX2i1wWjjPCRRO4pyXqMjL3Os6ALXwoaYmEdBmwQyUqBiDcgIcZQZy8vuw7yvqfC4oQ5lvMKMwgliCD/PZbvZ+ntinnjFJtHq1ZI38QQBsn2y8a4FEzgeOleqgn1qFHDe6NGU00T7olCxCMM++MalK2r8RsbWa+EOwcwr8rExqhO40rKqgga6DaNr1FY13ZRK1vpt3xgRoaMSGw33NNCow4YkaIi+w93pHbvi4X1An0IferKa9+mp+vLKKWpMVZcnrzNTETn7SVIV+JxwIUsRxGTwmj7jI15RBphTbv9fhTtQqVIDE5+mf0RKS6IN2P/WPJAh4OxlCfl5ms1dCXxJOGEDj7JMxbHrp25pgPukLgRH4ZZ/CCAeA+XpdsSrlZzqepNKWr8iMzRGNxqEEQzI/swigj7pV3ZaCEFhiUFHirdBenTkcWsAc93c+JGn6ZqudRD9pMziwujNFiwTbvhcyr5kawY32dZsAx/BVCv+UQjF47YXLE7Mg612o9oLVviTkR9zeWWpWVqXi+3HtDmfvZRu6YTzHYSVjmZaVASdiLFm872TzamfQbcQtqosiduBu40+bWdUGBUYjQ374zSk1144HT6atuvlp5kJLFwPwT9w2TXGh1N461rS19mKb02n2QDZnt2vjZ5LHDXLtfE35fNUg36Y2cRVOFYJC5y6PFVRjI9p7aBDF9/UAvjsw4iNNpAf6yfbss1ws6llktYoiJFkSp9NoPVqAVTpb5jwhaXNPyURpyKb3WOxAnYrqij5xhMt0nmqZMz/TDAXqlxqE7nEUAzMZ7ezd8ZHYMBdJOIsfPk/4aWs/QwGPuq28GaiHWQfrqzNwccn7g8rBGHsjljwdNpphX4YCT1c+P3+YU1U+iWC4zFXYU7dize+sNvJcYmp5H8ef0bDBn6oZFLAacCbPvpqQTMHi3A4QLr1W1cMTe6dcyb5xrmea+wui0lS1lKUizYOwAsApq4gy4wpW3MTz1k3PAwWw/0lTbntY6kYI7e/gpClPULEm1AzoAfJW48Yc5FNrtdcATN0NmB/OYC12CQ+Hc9kZeY1O2syY9RonigHNnnHAo/ALZ72U9jH/mxZHglfYtA7tjvvplzv1NMO6AgXVrCLpGNtXhECNNm+HuQOn92PQWQ046sLv1L7+pOpE2RKkechJHmSx2LfBFUuXZbv91dTe1FUMfgQhbdFzRPhfLWDriL/dGHKSh9eYNBHsx/jk2yIkhTOiEOXD6BiOQJhO33tSg/lTEKvmZcXxKVZQUfFASltHJGFSb/4vSvAZ2HkshR0GO5bLqMcLYiNcKswKehsRZui6lrvnasX1nUg9QKmvrRcxbBbZWXfTVcGWLf4hIjFH1l3Bv3wRTNVIlG3eztn236rm6/A0nujg+99335/UaOZy8j3Xy8XZAJiLyR0g/rGy7GnuwQvvObKyRAKgtr4G8mR3owKOk1RKtYgwRiJli2W+S5bf3Rw+cnBwq0/TZGblQEuaOqKnmHxtt02SEUD3L6frmgQSduySv94Zla9iH6hA2PDaQuID2XqLCSd2VZsl/aboMtgfSkMyri5fU2VwavL3/25gdC7c77+V2T7aE5ccuSMFQfDj5anQagcwqYZcuFI7i19mSCs5I1V84zBQKM+82o1/x0hJ1BHkYkf8d4K0G5D/7I7VncBeunXmZvgukqwH+26UrTZ9YWe1Xn6jRcFudNayn7tkI5fbXQFG76jOwL9XnbKSzzh0WB1ws2dbiczMWyyYfpJQIyojpfJFNv/izz2qxQcCGOxSM9MaLvZ+ffEjaav0uPRvF/VIx6IPNsb9Rv3uARZYCr1CsQ32gSiejYkrxjozv6kOintWc24xG7y54/cKYdY4P5Oz70uhMG/a/2blVNS7eS92RwVHERPik+QN2BA77GMR0gfeTt/goiLEr3Baa20P5OROcHonZSpZZzmTPmCBJXnE2GhYoDiKJuZahm+gXhIkFMTJ8Tx0N+GPI4bVUSejwQ+T0j3GSvtcZnXlvkZiwpSRBGHabM/0T4sR3aTfVzFSpKbmPFLemxNS4c6cgJBlP4utiOvnIWMAKpqYLuGCi6hicbw1H25Q4kK/fhYe/hJrgEeBMrddoT7MRgz4G8Rvm+Xe7ZrsrJXBSJm0XbRmNEfUv2/r/KmUOUuhcZq75W6dgoZNypyfoiHqldgr0TwZ9bXkUEQEUR8V1XKF6/HoAStasxYJjL1OMSsf/cwjGwhY59mJZkbTUSHsnKoJvwhiE3QjT86yNQ3b8jKRhJiuvBDVVoFogOXs3/97BIkeD6Yq9f9L0e1e/AcUyPBrklE/cmhRX4JL1U9OUR0xTXKTwpCKWDo7dgn93SdUoIBDJT/hjR+OUgVZ8kcRv92RMc8kDgqXlcIhgeF3zVoQnJFTEzrPFdhpxb1hcHfV0kqsp8tKRPM7FRqYQVtoRQoi0jHMaJ6FcJ466kAZ2OTWd/AC3F/9srrMjGefu+wrwu6FsTOGSmv2CX1/qtkUiZumu++JEPSHMxRiIj3KmqPTBXXdmQZMhMa4RBOD3zOc6WE3WJmPQYipK+8Q6OtnJnl9W1GtREooXmio3f4wOtLmXaI2Dsj651E0TsylylHlYdcdZx3o7nUVsYUcwjtakyldN8yDg4/FDrmkgwaAjjWV/FjvIDO7SY8Y6BuYBvStmZaTh4nh/tqBuhld/ia9qzU99FIlDsIXSWJ4lPLHTUCaU2yt/A71eb1f3rT0JPohFVHqYC3suB6vv2kPJj/i6N9Q4vBTFM+YbuLGgO3Wsszptx0ioS/kYgaY4eFTZVka+F+9pF93CeU1vqbAy1mJyBVeZkfSTpGtLgvTsfDVz/vcx+X+bjlXdISIV8tIrWH7f/Z4UF3X7NmMBBE92n0FsZMsBjoSI2URYat+Rvd7MaJJafoANMj1LnVgZbNzFxp9ReNEwgfwqgfJ+6yl5KCZsCyAKCA84UOVfINVIx6T70Tw8tdPjlXX149nC0+fD673YoGAtk+vfpvVgrhwLUHO0G7ed4YxzF0WADrIV1zGrTH5d4feU5mZwYIF63HS5Zaln7AkNGizuY9cynA5W1G79QlNGj3oMp55ZYzX42zshQ4R/jjdxfG/ygq9WNT9QifeQqrJGAU0LSQ9roL3VtOByiL+tM3W+D2IAzMZCrOwajVlw/N/QdxkwlsV+b8EB86Wm6kq6QlLbXHO8BqG/XA55gAeTIADTmcVwdUxMss+bFypSj4VCR+mqQCwuTe6UpqN61ln+vRL8mXVgeVlldj0W0MprHq7xCjHy7l3igDhIpb643jxpDf9snsn8/x2+43nukD7BWqC0eGLJ3+LhzcK/25XpZCHaLgEOZmE9kUKECqPiHsJp7iJ1Ok/Jv9nfCTyScjfd3aKq5+3p6J/PnoKu79UwG3LuXhYHhqvQwnF7vMyyOuKKwQyJnOCEEF+AnGLKBkOF+z4k6Gm+PXq2Z+lXQJ+3bjQoUijCIIKezg51otL0KDvgmJvNOlP4NhbewOvSXPNzg6X0PxJRH7UF7vpP+HKXkOXahEkYu7yNXDph5ilZivvIEKNN1pd+FcRTv+8++CUAOKZL87x7GhlyJ63N1noaNH2RnyDtKPThRpc7lAq9w/XS3qDmsneqhmI2LJMrvJaCzF6RAK8qArejQsC6ZBiN+2hnLebLQRxXbiveKnKW+n5jWP//CZL2JnQFRfY+AI+e2naMas+TfvNRG5lHVtzb87LqDhWiLmTBnOYhBxwwbj9g0R3d6iy1iM/3Fld5KypPLl/BsHxFqKt3EDeSfe+XKvzcbJcc0OoGbzMGgm2I1Lm4oBmvDc+wledH/UG03w//+Q482zfgXAzFwsvIdjy26QF1UaHSoqnCqzoPg2XLXtdm9Ajf3QMxhhfB25rcSuZyZiNi6IFcUMwZQHx5gFQGh7mxo3sUDVQA+BPQextyVxHoOtNIHcg1xDosvIemDui9aV8S1A1Yx1f3xnedpX4HlTtAbksob0eeKm740cTGpCx0Ev4k81J0oRjr6WcjxXkwDkEm7koehI0iwkFklsnzGD7o74/ilxGzfJt9KBWCRaO4grhVbS2BqD4UJLoEF+gTxsEXItCOX2NAL+CwgPjGapnkhMaK/yZczhP29qgGf+g1hI2BUgIPuSZMXfq3p6FDlUIfBM7QrKdrKwj2THZtJmyf/pZnOMLntlwyRlbX86yw9oLdoFa+mGvBnXtnB+cjJ8n5qIuWQMGzYA+D//pEbkm44hB30YUzqlUJIWFZHI8seSSj2Y+inRJAXYKlZ32bA5zI2B1X4P+j6cQk3USOKqp9F4FKr+XSgyPtfxET3kYcPSMCKa0njFXB3+KEfennzmVP+0vFqiJU8FczhYGt8UUFbpfNcV7RdaXZipC5vr9w0vxmuKjGmW9Cs2+aWgCw0h39sc4OLUYvBDcRE+QkEex3VDmPos6XIROGioL4WoPdUugJTWRjFfx45qnIg8dYoiCv4eN3PPmBhi3cpqpyYIb+x0QRIexmFhNIIpBO437pn67G5E52ZhK4nFKz0bQwwBKKvw2JeyqBXHaKsvd+MNzFaHMhKHF4Yb/yIAqfFsgauFITdFKezQ0V/XCORxVGGwG+/tZIAIXb4Bk62HhsYgEWpQjoJBnLnIhJv7PKYS4xkvqvmG9Km4T4LBqh/K7l+2UQv5q5xYvwVnWbSBPmZGzSKwaJx5/b83GiJyGltXwNiXrJ2vXik8I8gR6X21dC1g8KnEiuJ+INxwgd50teQAHJ7HuOf7DfHWbrKo60gllYl1A9dCBdIc98r7JBpJDYse2NHT5W0wC1OM50AKYM44CFdMysLc/GYxaOTyh+ZHw2XiYMVZz37Vfvf9grCaCZKyJ2wINXMb0zLh6ROFz+qI/kM6IIlSVRVT3S6K0ODCfWGXCQ4XnQKGxRMSeTgRO6aShpuXviuGRg1hpNgRXXozJBzuuSJAnOl5715b0yawhdj1IFBeLigKLKTrZuNYYh+KXP4fxi/WX0cD3W9JvAaKH9T/xyDL6fLTprw5n4aEecbj3EV8LBGHUJESygHACnust1JtOT9O83VPJu0wriLQhu2fj8WvyRLfsW2RxpxZi+cNngt8ajqD8W5Sz/9nT46EVqz0DaFeXPwRQ8h5UWy8EdxwoPaI8Bxak7Ncf1Y08tZwJGbFliAfFgDgBhMR5A1Ws8YoiHrsdNCmaYqQ3NPQgJFfc5e7kHB2M0i9u3HtB7evmTNiIgWNQ7f7HkWHc9fcbtDx+mgVTfSQ+ENeQglOvu/PjK0oJP/ssgV6yZDLkY26s/T6nc38pZ6A/dpoZHB8QRygnO9Vn6mDSlAnUNBe2zWozKFlQA6cbD1c8N3LBr3ZlwbNvk9K12Vi1fHgG0fdYUrPjBsKUoZ7iEdGMA6+sQWdYj9eyiaZz9SX3IMHj6/bz0/m/EcA/Q8ILR9ZZltqT85nSkMIm7ppyCG/C49U0tLpNmbI4Njy+siJYF824RS2IWPZz6Q=="/>
  <p:tag name="MEKKOXMLTAGS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2</TotalTime>
  <Words>2580</Words>
  <Application>Microsoft Office PowerPoint</Application>
  <PresentationFormat>Widescreen</PresentationFormat>
  <Paragraphs>729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ptos</vt:lpstr>
      <vt:lpstr>Arial</vt:lpstr>
      <vt:lpstr>Bain Core</vt:lpstr>
      <vt:lpstr>think-cell Slide</vt:lpstr>
      <vt:lpstr>Survey Deck 2 – Sample Output</vt:lpstr>
      <vt:lpstr>Target greenfield vs. switching consideration | Target has been winning more  jump balls over time across greenfield and brownfield opportunities </vt:lpstr>
      <vt:lpstr>Target alternatives | When customers consider alternatives to Target, they are often evaluated against Peer 1, Peer 2(x), Peer 3 and Peer 4</vt:lpstr>
      <vt:lpstr>Consideration and selection | Target is considered less often than Peer 1 and Peer 2(x), but wins ~40% of the time when considered in sweet spot (SMB and MM)</vt:lpstr>
      <vt:lpstr>Target right to win | Target has stronger right to win with non-Enterprise customers that either 1) prioritize ease of use, or 2) don’t use non-Peer 2(x) products from the Peer 2 family </vt:lpstr>
      <vt:lpstr>Target sweet spot | Target is considered, winning more often in sweet spot segments when non-Peer 2(x) products from the Peer 2 family are not present or customer prioritizes ease of use</vt:lpstr>
      <vt:lpstr>Target right to win | Combining preferences for ease of use and where Peer 2 family product  isn’t present suggests pocket where Target has a stronger right to wi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ndit, Jay</dc:creator>
  <cp:lastModifiedBy>BCN</cp:lastModifiedBy>
  <cp:revision>4</cp:revision>
  <cp:lastPrinted>2017-02-15T14:23:56Z</cp:lastPrinted>
  <dcterms:created xsi:type="dcterms:W3CDTF">2025-05-28T06:04:28Z</dcterms:created>
  <dcterms:modified xsi:type="dcterms:W3CDTF">2025-06-02T12:55:43Z</dcterms:modified>
</cp:coreProperties>
</file>